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4"/>
  </p:sldMasterIdLst>
  <p:sldIdLst>
    <p:sldId id="257" r:id="rId5"/>
    <p:sldId id="2146849189" r:id="rId6"/>
    <p:sldId id="2146849190" r:id="rId7"/>
    <p:sldId id="2146849188" r:id="rId8"/>
    <p:sldId id="2146849185" r:id="rId9"/>
    <p:sldId id="2146849186" r:id="rId10"/>
    <p:sldId id="2146849187" r:id="rId11"/>
    <p:sldId id="2146849182" r:id="rId12"/>
    <p:sldId id="2146849181" r:id="rId13"/>
    <p:sldId id="2146849179" r:id="rId14"/>
    <p:sldId id="2146849191" r:id="rId15"/>
  </p:sldIdLst>
  <p:sldSz cx="9906000" cy="6858000" type="A4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928142AD-F31E-444C-B68D-F746F9107D90}">
          <p14:sldIdLst>
            <p14:sldId id="257"/>
          </p14:sldIdLst>
        </p14:section>
        <p14:section name="회사소개" id="{C7829EB0-D199-4863-A36A-756D383E34CC}">
          <p14:sldIdLst>
            <p14:sldId id="2146849189"/>
            <p14:sldId id="2146849190"/>
            <p14:sldId id="2146849188"/>
            <p14:sldId id="2146849185"/>
          </p14:sldIdLst>
        </p14:section>
        <p14:section name="Mendix" id="{2F08C1C2-33A3-4952-A063-498B754E60D9}">
          <p14:sldIdLst>
            <p14:sldId id="2146849186"/>
            <p14:sldId id="2146849187"/>
          </p14:sldIdLst>
        </p14:section>
        <p14:section name="뱅가드랩 Mendix사업팀의 강점" id="{E6730C73-9606-4DA9-9B4D-00D4DCA73447}">
          <p14:sldIdLst>
            <p14:sldId id="2146849182"/>
            <p14:sldId id="2146849181"/>
          </p14:sldIdLst>
        </p14:section>
        <p14:section name="Contact" id="{EF8C678A-0152-45ED-8B80-A406ED1973B8}">
          <p14:sldIdLst>
            <p14:sldId id="2146849179"/>
          </p14:sldIdLst>
        </p14:section>
        <p14:section name="필요" id="{B1E70479-BD0B-4421-BE2D-1B077218F331}">
          <p14:sldIdLst>
            <p14:sldId id="214684919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orient="horz" pos="1117" userDrawn="1">
          <p15:clr>
            <a:srgbClr val="A4A3A4"/>
          </p15:clr>
        </p15:guide>
        <p15:guide id="4" orient="horz" pos="3702" userDrawn="1">
          <p15:clr>
            <a:srgbClr val="A4A3A4"/>
          </p15:clr>
        </p15:guide>
        <p15:guide id="5" pos="6023" userDrawn="1">
          <p15:clr>
            <a:srgbClr val="A4A3A4"/>
          </p15:clr>
        </p15:guide>
        <p15:guide id="6" orient="horz" pos="1071" userDrawn="1">
          <p15:clr>
            <a:srgbClr val="A4A3A4"/>
          </p15:clr>
        </p15:guide>
        <p15:guide id="7" orient="horz" pos="436" userDrawn="1">
          <p15:clr>
            <a:srgbClr val="A4A3A4"/>
          </p15:clr>
        </p15:guide>
        <p15:guide id="8" pos="217" userDrawn="1">
          <p15:clr>
            <a:srgbClr val="A4A3A4"/>
          </p15:clr>
        </p15:guide>
        <p15:guide id="9" pos="897" userDrawn="1">
          <p15:clr>
            <a:srgbClr val="A4A3A4"/>
          </p15:clr>
        </p15:guide>
        <p15:guide id="10" pos="5343" userDrawn="1">
          <p15:clr>
            <a:srgbClr val="A4A3A4"/>
          </p15:clr>
        </p15:guide>
        <p15:guide id="12" pos="4141" userDrawn="1">
          <p15:clr>
            <a:srgbClr val="A4A3A4"/>
          </p15:clr>
        </p15:guide>
        <p15:guide id="13" orient="horz" pos="134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E4F50"/>
    <a:srgbClr val="E3E4E0"/>
    <a:srgbClr val="F4F4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D0A09EC-5A8C-430E-BC68-2557523CC716}" v="10" dt="2024-07-15T02:09:09.0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 showGuides="1">
      <p:cViewPr varScale="1">
        <p:scale>
          <a:sx n="101" d="100"/>
          <a:sy n="101" d="100"/>
        </p:scale>
        <p:origin x="1140" y="318"/>
      </p:cViewPr>
      <p:guideLst>
        <p:guide orient="horz" pos="2160"/>
        <p:guide pos="3120"/>
        <p:guide orient="horz" pos="1117"/>
        <p:guide orient="horz" pos="3702"/>
        <p:guide pos="6023"/>
        <p:guide orient="horz" pos="1071"/>
        <p:guide orient="horz" pos="436"/>
        <p:guide pos="217"/>
        <p:guide pos="897"/>
        <p:guide pos="5343"/>
        <p:guide pos="4141"/>
        <p:guide orient="horz" pos="134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박민지 책임" userId="75b86538-d491-4a92-b3c7-339ac5f910b5" providerId="ADAL" clId="{CD0A09EC-5A8C-430E-BC68-2557523CC716}"/>
    <pc:docChg chg="undo redo custSel modSld sldOrd modMainMaster">
      <pc:chgData name="박민지 책임" userId="75b86538-d491-4a92-b3c7-339ac5f910b5" providerId="ADAL" clId="{CD0A09EC-5A8C-430E-BC68-2557523CC716}" dt="2024-07-15T02:09:13.588" v="574" actId="478"/>
      <pc:docMkLst>
        <pc:docMk/>
      </pc:docMkLst>
      <pc:sldChg chg="addSp delSp modSp mod">
        <pc:chgData name="박민지 책임" userId="75b86538-d491-4a92-b3c7-339ac5f910b5" providerId="ADAL" clId="{CD0A09EC-5A8C-430E-BC68-2557523CC716}" dt="2024-07-15T02:09:13.588" v="574" actId="478"/>
        <pc:sldMkLst>
          <pc:docMk/>
          <pc:sldMk cId="710933023" sldId="2146849181"/>
        </pc:sldMkLst>
        <pc:spChg chg="mod">
          <ac:chgData name="박민지 책임" userId="75b86538-d491-4a92-b3c7-339ac5f910b5" providerId="ADAL" clId="{CD0A09EC-5A8C-430E-BC68-2557523CC716}" dt="2024-07-13T11:25:17.819" v="0"/>
          <ac:spMkLst>
            <pc:docMk/>
            <pc:sldMk cId="710933023" sldId="2146849181"/>
            <ac:spMk id="21" creationId="{AA29530F-612D-E46B-89D4-30273F38D02B}"/>
          </ac:spMkLst>
        </pc:spChg>
        <pc:spChg chg="mod">
          <ac:chgData name="박민지 책임" userId="75b86538-d491-4a92-b3c7-339ac5f910b5" providerId="ADAL" clId="{CD0A09EC-5A8C-430E-BC68-2557523CC716}" dt="2024-07-13T11:25:17.819" v="0"/>
          <ac:spMkLst>
            <pc:docMk/>
            <pc:sldMk cId="710933023" sldId="2146849181"/>
            <ac:spMk id="23" creationId="{5C6ADA7B-CA05-5BA8-A573-60CAEA8E7991}"/>
          </ac:spMkLst>
        </pc:spChg>
        <pc:spChg chg="add del mod">
          <ac:chgData name="박민지 책임" userId="75b86538-d491-4a92-b3c7-339ac5f910b5" providerId="ADAL" clId="{CD0A09EC-5A8C-430E-BC68-2557523CC716}" dt="2024-07-15T02:09:13.588" v="574" actId="478"/>
          <ac:spMkLst>
            <pc:docMk/>
            <pc:sldMk cId="710933023" sldId="2146849181"/>
            <ac:spMk id="24" creationId="{E22F2B81-28A8-D1C8-8113-7878BF5F4D19}"/>
          </ac:spMkLst>
        </pc:spChg>
        <pc:grpChg chg="add mod ord">
          <ac:chgData name="박민지 책임" userId="75b86538-d491-4a92-b3c7-339ac5f910b5" providerId="ADAL" clId="{CD0A09EC-5A8C-430E-BC68-2557523CC716}" dt="2024-07-13T11:25:41.476" v="2" actId="167"/>
          <ac:grpSpMkLst>
            <pc:docMk/>
            <pc:sldMk cId="710933023" sldId="2146849181"/>
            <ac:grpSpMk id="2" creationId="{34D24A0C-1097-8480-78AD-361FF18C8DDB}"/>
          </ac:grpSpMkLst>
        </pc:grpChg>
      </pc:sldChg>
      <pc:sldChg chg="modSp mod">
        <pc:chgData name="박민지 책임" userId="75b86538-d491-4a92-b3c7-339ac5f910b5" providerId="ADAL" clId="{CD0A09EC-5A8C-430E-BC68-2557523CC716}" dt="2024-07-13T11:37:27.696" v="98" actId="2710"/>
        <pc:sldMkLst>
          <pc:docMk/>
          <pc:sldMk cId="3407029255" sldId="2146849182"/>
        </pc:sldMkLst>
        <pc:spChg chg="mod">
          <ac:chgData name="박민지 책임" userId="75b86538-d491-4a92-b3c7-339ac5f910b5" providerId="ADAL" clId="{CD0A09EC-5A8C-430E-BC68-2557523CC716}" dt="2024-07-13T11:32:58.431" v="58" actId="12789"/>
          <ac:spMkLst>
            <pc:docMk/>
            <pc:sldMk cId="3407029255" sldId="2146849182"/>
            <ac:spMk id="20" creationId="{03209920-5BE6-E491-09C0-F4752D2D9277}"/>
          </ac:spMkLst>
        </pc:spChg>
        <pc:spChg chg="mod">
          <ac:chgData name="박민지 책임" userId="75b86538-d491-4a92-b3c7-339ac5f910b5" providerId="ADAL" clId="{CD0A09EC-5A8C-430E-BC68-2557523CC716}" dt="2024-07-13T11:35:07.752" v="73" actId="403"/>
          <ac:spMkLst>
            <pc:docMk/>
            <pc:sldMk cId="3407029255" sldId="2146849182"/>
            <ac:spMk id="34" creationId="{1983DB43-2AAC-7392-01F2-74052137DC3D}"/>
          </ac:spMkLst>
        </pc:spChg>
        <pc:spChg chg="mod">
          <ac:chgData name="박민지 책임" userId="75b86538-d491-4a92-b3c7-339ac5f910b5" providerId="ADAL" clId="{CD0A09EC-5A8C-430E-BC68-2557523CC716}" dt="2024-07-13T11:35:07.752" v="73" actId="403"/>
          <ac:spMkLst>
            <pc:docMk/>
            <pc:sldMk cId="3407029255" sldId="2146849182"/>
            <ac:spMk id="35" creationId="{29D6E98A-D6B3-4690-4E39-BE7F7B2C274E}"/>
          </ac:spMkLst>
        </pc:spChg>
        <pc:spChg chg="mod">
          <ac:chgData name="박민지 책임" userId="75b86538-d491-4a92-b3c7-339ac5f910b5" providerId="ADAL" clId="{CD0A09EC-5A8C-430E-BC68-2557523CC716}" dt="2024-07-13T11:35:07.752" v="73" actId="403"/>
          <ac:spMkLst>
            <pc:docMk/>
            <pc:sldMk cId="3407029255" sldId="2146849182"/>
            <ac:spMk id="36" creationId="{29D9F556-41B8-8508-9B61-3892D5870021}"/>
          </ac:spMkLst>
        </pc:spChg>
        <pc:spChg chg="mod">
          <ac:chgData name="박민지 책임" userId="75b86538-d491-4a92-b3c7-339ac5f910b5" providerId="ADAL" clId="{CD0A09EC-5A8C-430E-BC68-2557523CC716}" dt="2024-07-13T11:35:07.752" v="73" actId="403"/>
          <ac:spMkLst>
            <pc:docMk/>
            <pc:sldMk cId="3407029255" sldId="2146849182"/>
            <ac:spMk id="37" creationId="{EADFC670-8918-ABC8-32AF-04F8B05B5766}"/>
          </ac:spMkLst>
        </pc:spChg>
        <pc:spChg chg="mod">
          <ac:chgData name="박민지 책임" userId="75b86538-d491-4a92-b3c7-339ac5f910b5" providerId="ADAL" clId="{CD0A09EC-5A8C-430E-BC68-2557523CC716}" dt="2024-07-13T11:35:30.388" v="84" actId="404"/>
          <ac:spMkLst>
            <pc:docMk/>
            <pc:sldMk cId="3407029255" sldId="2146849182"/>
            <ac:spMk id="38" creationId="{2581B80A-5470-57A0-8BCC-8391ECD25F5A}"/>
          </ac:spMkLst>
        </pc:spChg>
        <pc:spChg chg="mod">
          <ac:chgData name="박민지 책임" userId="75b86538-d491-4a92-b3c7-339ac5f910b5" providerId="ADAL" clId="{CD0A09EC-5A8C-430E-BC68-2557523CC716}" dt="2024-07-13T11:35:30.388" v="84" actId="404"/>
          <ac:spMkLst>
            <pc:docMk/>
            <pc:sldMk cId="3407029255" sldId="2146849182"/>
            <ac:spMk id="39" creationId="{EA2BCA30-9AE9-7A86-8C3C-49707090865F}"/>
          </ac:spMkLst>
        </pc:spChg>
        <pc:spChg chg="mod">
          <ac:chgData name="박민지 책임" userId="75b86538-d491-4a92-b3c7-339ac5f910b5" providerId="ADAL" clId="{CD0A09EC-5A8C-430E-BC68-2557523CC716}" dt="2024-07-13T11:35:30.388" v="84" actId="404"/>
          <ac:spMkLst>
            <pc:docMk/>
            <pc:sldMk cId="3407029255" sldId="2146849182"/>
            <ac:spMk id="40" creationId="{8AC46C88-2AE8-E47E-340E-EF37BF96072D}"/>
          </ac:spMkLst>
        </pc:spChg>
        <pc:spChg chg="mod">
          <ac:chgData name="박민지 책임" userId="75b86538-d491-4a92-b3c7-339ac5f910b5" providerId="ADAL" clId="{CD0A09EC-5A8C-430E-BC68-2557523CC716}" dt="2024-07-13T11:35:30.388" v="84" actId="404"/>
          <ac:spMkLst>
            <pc:docMk/>
            <pc:sldMk cId="3407029255" sldId="2146849182"/>
            <ac:spMk id="41" creationId="{22387CA3-13EE-49DA-A6FA-5ABDAB6B8A25}"/>
          </ac:spMkLst>
        </pc:spChg>
        <pc:spChg chg="mod">
          <ac:chgData name="박민지 책임" userId="75b86538-d491-4a92-b3c7-339ac5f910b5" providerId="ADAL" clId="{CD0A09EC-5A8C-430E-BC68-2557523CC716}" dt="2024-07-13T11:37:27.696" v="98" actId="2710"/>
          <ac:spMkLst>
            <pc:docMk/>
            <pc:sldMk cId="3407029255" sldId="2146849182"/>
            <ac:spMk id="42" creationId="{2B64AD5E-B409-79D9-B4DA-44DE484F173F}"/>
          </ac:spMkLst>
        </pc:spChg>
        <pc:spChg chg="mod">
          <ac:chgData name="박민지 책임" userId="75b86538-d491-4a92-b3c7-339ac5f910b5" providerId="ADAL" clId="{CD0A09EC-5A8C-430E-BC68-2557523CC716}" dt="2024-07-13T11:35:07.752" v="73" actId="403"/>
          <ac:spMkLst>
            <pc:docMk/>
            <pc:sldMk cId="3407029255" sldId="2146849182"/>
            <ac:spMk id="49" creationId="{2B6D99B6-A512-4B9A-BB1A-CC90B1603C0A}"/>
          </ac:spMkLst>
        </pc:spChg>
        <pc:spChg chg="mod">
          <ac:chgData name="박민지 책임" userId="75b86538-d491-4a92-b3c7-339ac5f910b5" providerId="ADAL" clId="{CD0A09EC-5A8C-430E-BC68-2557523CC716}" dt="2024-07-13T11:35:07.752" v="73" actId="403"/>
          <ac:spMkLst>
            <pc:docMk/>
            <pc:sldMk cId="3407029255" sldId="2146849182"/>
            <ac:spMk id="50" creationId="{52877644-1B33-57F0-A7B7-99B6562FCA7D}"/>
          </ac:spMkLst>
        </pc:spChg>
        <pc:spChg chg="mod">
          <ac:chgData name="박민지 책임" userId="75b86538-d491-4a92-b3c7-339ac5f910b5" providerId="ADAL" clId="{CD0A09EC-5A8C-430E-BC68-2557523CC716}" dt="2024-07-13T11:35:30.388" v="84" actId="404"/>
          <ac:spMkLst>
            <pc:docMk/>
            <pc:sldMk cId="3407029255" sldId="2146849182"/>
            <ac:spMk id="51" creationId="{BFE156B4-F4F7-6B00-7077-66C814B34376}"/>
          </ac:spMkLst>
        </pc:spChg>
        <pc:spChg chg="mod">
          <ac:chgData name="박민지 책임" userId="75b86538-d491-4a92-b3c7-339ac5f910b5" providerId="ADAL" clId="{CD0A09EC-5A8C-430E-BC68-2557523CC716}" dt="2024-07-13T11:35:30.388" v="84" actId="404"/>
          <ac:spMkLst>
            <pc:docMk/>
            <pc:sldMk cId="3407029255" sldId="2146849182"/>
            <ac:spMk id="52" creationId="{0C01B4D3-6B1B-30CF-BDED-E6A9C493D183}"/>
          </ac:spMkLst>
        </pc:spChg>
      </pc:sldChg>
      <pc:sldChg chg="addSp modSp mod">
        <pc:chgData name="박민지 책임" userId="75b86538-d491-4a92-b3c7-339ac5f910b5" providerId="ADAL" clId="{CD0A09EC-5A8C-430E-BC68-2557523CC716}" dt="2024-07-15T02:09:00.497" v="572"/>
        <pc:sldMkLst>
          <pc:docMk/>
          <pc:sldMk cId="1633746274" sldId="2146849187"/>
        </pc:sldMkLst>
        <pc:spChg chg="add mod">
          <ac:chgData name="박민지 책임" userId="75b86538-d491-4a92-b3c7-339ac5f910b5" providerId="ADAL" clId="{CD0A09EC-5A8C-430E-BC68-2557523CC716}" dt="2024-07-15T02:09:00.497" v="572"/>
          <ac:spMkLst>
            <pc:docMk/>
            <pc:sldMk cId="1633746274" sldId="2146849187"/>
            <ac:spMk id="2" creationId="{091FD6C5-7AAD-FDA5-084F-1988DD8136A2}"/>
          </ac:spMkLst>
        </pc:spChg>
        <pc:spChg chg="mod">
          <ac:chgData name="박민지 책임" userId="75b86538-d491-4a92-b3c7-339ac5f910b5" providerId="ADAL" clId="{CD0A09EC-5A8C-430E-BC68-2557523CC716}" dt="2024-07-13T11:36:13.603" v="97" actId="948"/>
          <ac:spMkLst>
            <pc:docMk/>
            <pc:sldMk cId="1633746274" sldId="2146849187"/>
            <ac:spMk id="7" creationId="{D081ED2E-70C4-E405-329C-6A26BE38D223}"/>
          </ac:spMkLst>
        </pc:spChg>
        <pc:spChg chg="mod">
          <ac:chgData name="박민지 책임" userId="75b86538-d491-4a92-b3c7-339ac5f910b5" providerId="ADAL" clId="{CD0A09EC-5A8C-430E-BC68-2557523CC716}" dt="2024-07-13T11:32:33.014" v="54" actId="113"/>
          <ac:spMkLst>
            <pc:docMk/>
            <pc:sldMk cId="1633746274" sldId="2146849187"/>
            <ac:spMk id="8" creationId="{FCA1A56C-2362-CA1B-F99B-421FD0800103}"/>
          </ac:spMkLst>
        </pc:spChg>
        <pc:spChg chg="mod">
          <ac:chgData name="박민지 책임" userId="75b86538-d491-4a92-b3c7-339ac5f910b5" providerId="ADAL" clId="{CD0A09EC-5A8C-430E-BC68-2557523CC716}" dt="2024-07-13T11:29:42.224" v="28" actId="404"/>
          <ac:spMkLst>
            <pc:docMk/>
            <pc:sldMk cId="1633746274" sldId="2146849187"/>
            <ac:spMk id="17" creationId="{7BC8B0B1-9E68-5E98-A3C5-B62BD0F3C68B}"/>
          </ac:spMkLst>
        </pc:spChg>
        <pc:spChg chg="mod">
          <ac:chgData name="박민지 책임" userId="75b86538-d491-4a92-b3c7-339ac5f910b5" providerId="ADAL" clId="{CD0A09EC-5A8C-430E-BC68-2557523CC716}" dt="2024-07-13T11:36:08.423" v="96" actId="948"/>
          <ac:spMkLst>
            <pc:docMk/>
            <pc:sldMk cId="1633746274" sldId="2146849187"/>
            <ac:spMk id="21" creationId="{56254565-9BB0-4AF4-2A56-6AC842E45CF8}"/>
          </ac:spMkLst>
        </pc:spChg>
        <pc:spChg chg="mod">
          <ac:chgData name="박민지 책임" userId="75b86538-d491-4a92-b3c7-339ac5f910b5" providerId="ADAL" clId="{CD0A09EC-5A8C-430E-BC68-2557523CC716}" dt="2024-07-13T11:32:35.730" v="55" actId="113"/>
          <ac:spMkLst>
            <pc:docMk/>
            <pc:sldMk cId="1633746274" sldId="2146849187"/>
            <ac:spMk id="22" creationId="{4C1B4285-E915-BEFE-EDA1-C2E5DD1B81D1}"/>
          </ac:spMkLst>
        </pc:spChg>
        <pc:spChg chg="mod">
          <ac:chgData name="박민지 책임" userId="75b86538-d491-4a92-b3c7-339ac5f910b5" providerId="ADAL" clId="{CD0A09EC-5A8C-430E-BC68-2557523CC716}" dt="2024-07-13T11:36:02.575" v="95" actId="948"/>
          <ac:spMkLst>
            <pc:docMk/>
            <pc:sldMk cId="1633746274" sldId="2146849187"/>
            <ac:spMk id="32" creationId="{92331DF3-EF8D-8BEC-DA83-E9F9AFEB0F43}"/>
          </ac:spMkLst>
        </pc:spChg>
        <pc:spChg chg="mod">
          <ac:chgData name="박민지 책임" userId="75b86538-d491-4a92-b3c7-339ac5f910b5" providerId="ADAL" clId="{CD0A09EC-5A8C-430E-BC68-2557523CC716}" dt="2024-07-13T11:32:37.247" v="56" actId="113"/>
          <ac:spMkLst>
            <pc:docMk/>
            <pc:sldMk cId="1633746274" sldId="2146849187"/>
            <ac:spMk id="33" creationId="{9FEE41FD-40DA-0E63-2370-3077B2CBAD94}"/>
          </ac:spMkLst>
        </pc:spChg>
        <pc:spChg chg="mod">
          <ac:chgData name="박민지 책임" userId="75b86538-d491-4a92-b3c7-339ac5f910b5" providerId="ADAL" clId="{CD0A09EC-5A8C-430E-BC68-2557523CC716}" dt="2024-07-13T11:35:57.093" v="94" actId="948"/>
          <ac:spMkLst>
            <pc:docMk/>
            <pc:sldMk cId="1633746274" sldId="2146849187"/>
            <ac:spMk id="43" creationId="{1B68937B-EBA2-179C-DD38-794A31A3E92F}"/>
          </ac:spMkLst>
        </pc:spChg>
        <pc:spChg chg="mod">
          <ac:chgData name="박민지 책임" userId="75b86538-d491-4a92-b3c7-339ac5f910b5" providerId="ADAL" clId="{CD0A09EC-5A8C-430E-BC68-2557523CC716}" dt="2024-07-13T11:32:39.425" v="57" actId="113"/>
          <ac:spMkLst>
            <pc:docMk/>
            <pc:sldMk cId="1633746274" sldId="2146849187"/>
            <ac:spMk id="44" creationId="{75CA3EBC-2E9F-04E3-EB54-F060039DB514}"/>
          </ac:spMkLst>
        </pc:spChg>
      </pc:sldChg>
      <pc:sldChg chg="modSp mod">
        <pc:chgData name="박민지 책임" userId="75b86538-d491-4a92-b3c7-339ac5f910b5" providerId="ADAL" clId="{CD0A09EC-5A8C-430E-BC68-2557523CC716}" dt="2024-07-15T02:04:41.786" v="529" actId="14100"/>
        <pc:sldMkLst>
          <pc:docMk/>
          <pc:sldMk cId="247808234" sldId="2146849188"/>
        </pc:sldMkLst>
        <pc:spChg chg="mod">
          <ac:chgData name="박민지 책임" userId="75b86538-d491-4a92-b3c7-339ac5f910b5" providerId="ADAL" clId="{CD0A09EC-5A8C-430E-BC68-2557523CC716}" dt="2024-07-15T02:01:56.073" v="433" actId="14100"/>
          <ac:spMkLst>
            <pc:docMk/>
            <pc:sldMk cId="247808234" sldId="2146849188"/>
            <ac:spMk id="7" creationId="{39D56ED0-95DD-8884-C660-E0EEBF4685E1}"/>
          </ac:spMkLst>
        </pc:spChg>
        <pc:spChg chg="mod">
          <ac:chgData name="박민지 책임" userId="75b86538-d491-4a92-b3c7-339ac5f910b5" providerId="ADAL" clId="{CD0A09EC-5A8C-430E-BC68-2557523CC716}" dt="2024-07-15T02:01:11.287" v="375" actId="1038"/>
          <ac:spMkLst>
            <pc:docMk/>
            <pc:sldMk cId="247808234" sldId="2146849188"/>
            <ac:spMk id="8" creationId="{C9CFA08B-1078-6D81-02C6-D8E38032975E}"/>
          </ac:spMkLst>
        </pc:spChg>
        <pc:spChg chg="mod">
          <ac:chgData name="박민지 책임" userId="75b86538-d491-4a92-b3c7-339ac5f910b5" providerId="ADAL" clId="{CD0A09EC-5A8C-430E-BC68-2557523CC716}" dt="2024-07-15T02:03:48.280" v="513" actId="554"/>
          <ac:spMkLst>
            <pc:docMk/>
            <pc:sldMk cId="247808234" sldId="2146849188"/>
            <ac:spMk id="25" creationId="{105532CB-EE45-4D31-7040-507DE3966328}"/>
          </ac:spMkLst>
        </pc:spChg>
        <pc:spChg chg="mod">
          <ac:chgData name="박민지 책임" userId="75b86538-d491-4a92-b3c7-339ac5f910b5" providerId="ADAL" clId="{CD0A09EC-5A8C-430E-BC68-2557523CC716}" dt="2024-07-15T02:03:54.622" v="514" actId="554"/>
          <ac:spMkLst>
            <pc:docMk/>
            <pc:sldMk cId="247808234" sldId="2146849188"/>
            <ac:spMk id="26" creationId="{D43BE565-2326-4397-2C0C-110D6912C615}"/>
          </ac:spMkLst>
        </pc:spChg>
        <pc:spChg chg="mod">
          <ac:chgData name="박민지 책임" userId="75b86538-d491-4a92-b3c7-339ac5f910b5" providerId="ADAL" clId="{CD0A09EC-5A8C-430E-BC68-2557523CC716}" dt="2024-07-15T02:03:48.280" v="513" actId="554"/>
          <ac:spMkLst>
            <pc:docMk/>
            <pc:sldMk cId="247808234" sldId="2146849188"/>
            <ac:spMk id="27" creationId="{D6C71E75-BEE1-F4DA-AD34-7492BFE33C98}"/>
          </ac:spMkLst>
        </pc:spChg>
        <pc:spChg chg="mod">
          <ac:chgData name="박민지 책임" userId="75b86538-d491-4a92-b3c7-339ac5f910b5" providerId="ADAL" clId="{CD0A09EC-5A8C-430E-BC68-2557523CC716}" dt="2024-07-15T02:03:54.622" v="514" actId="554"/>
          <ac:spMkLst>
            <pc:docMk/>
            <pc:sldMk cId="247808234" sldId="2146849188"/>
            <ac:spMk id="28" creationId="{87FC3E4D-F220-6257-A42D-D12634FBB29E}"/>
          </ac:spMkLst>
        </pc:spChg>
        <pc:spChg chg="mod">
          <ac:chgData name="박민지 책임" userId="75b86538-d491-4a92-b3c7-339ac5f910b5" providerId="ADAL" clId="{CD0A09EC-5A8C-430E-BC68-2557523CC716}" dt="2024-07-15T02:03:48.280" v="513" actId="554"/>
          <ac:spMkLst>
            <pc:docMk/>
            <pc:sldMk cId="247808234" sldId="2146849188"/>
            <ac:spMk id="29" creationId="{0609D310-CA69-AC4E-D108-AC6664506E6E}"/>
          </ac:spMkLst>
        </pc:spChg>
        <pc:spChg chg="mod">
          <ac:chgData name="박민지 책임" userId="75b86538-d491-4a92-b3c7-339ac5f910b5" providerId="ADAL" clId="{CD0A09EC-5A8C-430E-BC68-2557523CC716}" dt="2024-07-15T02:03:54.622" v="514" actId="554"/>
          <ac:spMkLst>
            <pc:docMk/>
            <pc:sldMk cId="247808234" sldId="2146849188"/>
            <ac:spMk id="30" creationId="{74FFA1C8-EECC-E069-758A-3DB179252D81}"/>
          </ac:spMkLst>
        </pc:spChg>
        <pc:spChg chg="mod">
          <ac:chgData name="박민지 책임" userId="75b86538-d491-4a92-b3c7-339ac5f910b5" providerId="ADAL" clId="{CD0A09EC-5A8C-430E-BC68-2557523CC716}" dt="2024-07-15T02:03:48.280" v="513" actId="554"/>
          <ac:spMkLst>
            <pc:docMk/>
            <pc:sldMk cId="247808234" sldId="2146849188"/>
            <ac:spMk id="31" creationId="{F4D113E4-4E41-9093-4855-6AC255829031}"/>
          </ac:spMkLst>
        </pc:spChg>
        <pc:spChg chg="mod">
          <ac:chgData name="박민지 책임" userId="75b86538-d491-4a92-b3c7-339ac5f910b5" providerId="ADAL" clId="{CD0A09EC-5A8C-430E-BC68-2557523CC716}" dt="2024-07-15T02:03:54.622" v="514" actId="554"/>
          <ac:spMkLst>
            <pc:docMk/>
            <pc:sldMk cId="247808234" sldId="2146849188"/>
            <ac:spMk id="32" creationId="{096A6B24-210B-4DAB-1E69-21140D78E995}"/>
          </ac:spMkLst>
        </pc:spChg>
        <pc:spChg chg="mod">
          <ac:chgData name="박민지 책임" userId="75b86538-d491-4a92-b3c7-339ac5f910b5" providerId="ADAL" clId="{CD0A09EC-5A8C-430E-BC68-2557523CC716}" dt="2024-07-15T02:04:41.786" v="529" actId="14100"/>
          <ac:spMkLst>
            <pc:docMk/>
            <pc:sldMk cId="247808234" sldId="2146849188"/>
            <ac:spMk id="33" creationId="{2656554D-988A-AC35-57F9-0F98A7A4EF74}"/>
          </ac:spMkLst>
        </pc:spChg>
        <pc:spChg chg="mod">
          <ac:chgData name="박민지 책임" userId="75b86538-d491-4a92-b3c7-339ac5f910b5" providerId="ADAL" clId="{CD0A09EC-5A8C-430E-BC68-2557523CC716}" dt="2024-07-15T02:04:41.786" v="529" actId="14100"/>
          <ac:spMkLst>
            <pc:docMk/>
            <pc:sldMk cId="247808234" sldId="2146849188"/>
            <ac:spMk id="34" creationId="{23D8408B-AC09-73DB-21A4-63842F7B7418}"/>
          </ac:spMkLst>
        </pc:spChg>
        <pc:spChg chg="mod">
          <ac:chgData name="박민지 책임" userId="75b86538-d491-4a92-b3c7-339ac5f910b5" providerId="ADAL" clId="{CD0A09EC-5A8C-430E-BC68-2557523CC716}" dt="2024-07-15T02:04:41.786" v="529" actId="14100"/>
          <ac:spMkLst>
            <pc:docMk/>
            <pc:sldMk cId="247808234" sldId="2146849188"/>
            <ac:spMk id="35" creationId="{E4E81592-C273-28E9-2566-13E9D76F0251}"/>
          </ac:spMkLst>
        </pc:spChg>
        <pc:spChg chg="mod">
          <ac:chgData name="박민지 책임" userId="75b86538-d491-4a92-b3c7-339ac5f910b5" providerId="ADAL" clId="{CD0A09EC-5A8C-430E-BC68-2557523CC716}" dt="2024-07-15T02:04:41.786" v="529" actId="14100"/>
          <ac:spMkLst>
            <pc:docMk/>
            <pc:sldMk cId="247808234" sldId="2146849188"/>
            <ac:spMk id="36" creationId="{5F6719AE-AE77-0B3D-457F-FE2CDAA8501E}"/>
          </ac:spMkLst>
        </pc:spChg>
        <pc:spChg chg="mod">
          <ac:chgData name="박민지 책임" userId="75b86538-d491-4a92-b3c7-339ac5f910b5" providerId="ADAL" clId="{CD0A09EC-5A8C-430E-BC68-2557523CC716}" dt="2024-07-15T02:04:41.786" v="529" actId="14100"/>
          <ac:spMkLst>
            <pc:docMk/>
            <pc:sldMk cId="247808234" sldId="2146849188"/>
            <ac:spMk id="37" creationId="{5A51A5FF-53FA-D0FF-CD80-85B1DEC87F29}"/>
          </ac:spMkLst>
        </pc:spChg>
        <pc:spChg chg="mod">
          <ac:chgData name="박민지 책임" userId="75b86538-d491-4a92-b3c7-339ac5f910b5" providerId="ADAL" clId="{CD0A09EC-5A8C-430E-BC68-2557523CC716}" dt="2024-07-15T02:04:41.786" v="529" actId="14100"/>
          <ac:spMkLst>
            <pc:docMk/>
            <pc:sldMk cId="247808234" sldId="2146849188"/>
            <ac:spMk id="38" creationId="{EEA6F805-0AF3-71D3-F85F-8DC1FA94A802}"/>
          </ac:spMkLst>
        </pc:spChg>
        <pc:spChg chg="mod">
          <ac:chgData name="박민지 책임" userId="75b86538-d491-4a92-b3c7-339ac5f910b5" providerId="ADAL" clId="{CD0A09EC-5A8C-430E-BC68-2557523CC716}" dt="2024-07-15T02:04:41.786" v="529" actId="14100"/>
          <ac:spMkLst>
            <pc:docMk/>
            <pc:sldMk cId="247808234" sldId="2146849188"/>
            <ac:spMk id="39" creationId="{C3FC38BB-871B-5765-12C3-317788AADD33}"/>
          </ac:spMkLst>
        </pc:spChg>
        <pc:spChg chg="mod">
          <ac:chgData name="박민지 책임" userId="75b86538-d491-4a92-b3c7-339ac5f910b5" providerId="ADAL" clId="{CD0A09EC-5A8C-430E-BC68-2557523CC716}" dt="2024-07-15T02:04:41.786" v="529" actId="14100"/>
          <ac:spMkLst>
            <pc:docMk/>
            <pc:sldMk cId="247808234" sldId="2146849188"/>
            <ac:spMk id="40" creationId="{3ADC70F5-D21E-992E-5914-CDD7A27D30D8}"/>
          </ac:spMkLst>
        </pc:spChg>
        <pc:grpChg chg="mod">
          <ac:chgData name="박민지 책임" userId="75b86538-d491-4a92-b3c7-339ac5f910b5" providerId="ADAL" clId="{CD0A09EC-5A8C-430E-BC68-2557523CC716}" dt="2024-07-13T11:26:13.897" v="3" actId="14100"/>
          <ac:grpSpMkLst>
            <pc:docMk/>
            <pc:sldMk cId="247808234" sldId="2146849188"/>
            <ac:grpSpMk id="4" creationId="{465C7FC6-0F30-1CAA-B652-0E07B2C92A96}"/>
          </ac:grpSpMkLst>
        </pc:grpChg>
        <pc:grpChg chg="mod">
          <ac:chgData name="박민지 책임" userId="75b86538-d491-4a92-b3c7-339ac5f910b5" providerId="ADAL" clId="{CD0A09EC-5A8C-430E-BC68-2557523CC716}" dt="2024-07-15T02:02:06.193" v="434" actId="552"/>
          <ac:grpSpMkLst>
            <pc:docMk/>
            <pc:sldMk cId="247808234" sldId="2146849188"/>
            <ac:grpSpMk id="9" creationId="{D6B7DB65-89F3-EC33-B5D3-D6AFDF5E985F}"/>
          </ac:grpSpMkLst>
        </pc:grpChg>
        <pc:grpChg chg="mod">
          <ac:chgData name="박민지 책임" userId="75b86538-d491-4a92-b3c7-339ac5f910b5" providerId="ADAL" clId="{CD0A09EC-5A8C-430E-BC68-2557523CC716}" dt="2024-07-15T02:02:06.193" v="434" actId="552"/>
          <ac:grpSpMkLst>
            <pc:docMk/>
            <pc:sldMk cId="247808234" sldId="2146849188"/>
            <ac:grpSpMk id="11" creationId="{7EC67419-20AB-306E-2A23-3E0A02460C72}"/>
          </ac:grpSpMkLst>
        </pc:grpChg>
        <pc:grpChg chg="mod">
          <ac:chgData name="박민지 책임" userId="75b86538-d491-4a92-b3c7-339ac5f910b5" providerId="ADAL" clId="{CD0A09EC-5A8C-430E-BC68-2557523CC716}" dt="2024-07-15T02:02:10.262" v="435" actId="552"/>
          <ac:grpSpMkLst>
            <pc:docMk/>
            <pc:sldMk cId="247808234" sldId="2146849188"/>
            <ac:grpSpMk id="13" creationId="{EC54CF69-8884-9DF9-A5F0-F0ED73F4B7C1}"/>
          </ac:grpSpMkLst>
        </pc:grpChg>
        <pc:grpChg chg="mod">
          <ac:chgData name="박민지 책임" userId="75b86538-d491-4a92-b3c7-339ac5f910b5" providerId="ADAL" clId="{CD0A09EC-5A8C-430E-BC68-2557523CC716}" dt="2024-07-15T02:02:10.262" v="435" actId="552"/>
          <ac:grpSpMkLst>
            <pc:docMk/>
            <pc:sldMk cId="247808234" sldId="2146849188"/>
            <ac:grpSpMk id="15" creationId="{6E33A8B8-0768-7E03-8ABD-B60AB4E6AF4B}"/>
          </ac:grpSpMkLst>
        </pc:grpChg>
        <pc:grpChg chg="mod">
          <ac:chgData name="박민지 책임" userId="75b86538-d491-4a92-b3c7-339ac5f910b5" providerId="ADAL" clId="{CD0A09EC-5A8C-430E-BC68-2557523CC716}" dt="2024-07-15T02:02:13.981" v="436" actId="552"/>
          <ac:grpSpMkLst>
            <pc:docMk/>
            <pc:sldMk cId="247808234" sldId="2146849188"/>
            <ac:grpSpMk id="17" creationId="{D6AC6D21-EC75-D375-017C-3B623F38E321}"/>
          </ac:grpSpMkLst>
        </pc:grpChg>
        <pc:grpChg chg="mod">
          <ac:chgData name="박민지 책임" userId="75b86538-d491-4a92-b3c7-339ac5f910b5" providerId="ADAL" clId="{CD0A09EC-5A8C-430E-BC68-2557523CC716}" dt="2024-07-15T02:02:13.981" v="436" actId="552"/>
          <ac:grpSpMkLst>
            <pc:docMk/>
            <pc:sldMk cId="247808234" sldId="2146849188"/>
            <ac:grpSpMk id="19" creationId="{4E71E9AE-BD1D-1AD4-E083-8266EFE6E1C7}"/>
          </ac:grpSpMkLst>
        </pc:grpChg>
        <pc:grpChg chg="mod">
          <ac:chgData name="박민지 책임" userId="75b86538-d491-4a92-b3c7-339ac5f910b5" providerId="ADAL" clId="{CD0A09EC-5A8C-430E-BC68-2557523CC716}" dt="2024-07-15T02:02:17.393" v="437" actId="552"/>
          <ac:grpSpMkLst>
            <pc:docMk/>
            <pc:sldMk cId="247808234" sldId="2146849188"/>
            <ac:grpSpMk id="21" creationId="{2E71D52C-40F1-8EB9-0356-42DACC5E7770}"/>
          </ac:grpSpMkLst>
        </pc:grpChg>
        <pc:grpChg chg="mod">
          <ac:chgData name="박민지 책임" userId="75b86538-d491-4a92-b3c7-339ac5f910b5" providerId="ADAL" clId="{CD0A09EC-5A8C-430E-BC68-2557523CC716}" dt="2024-07-15T02:02:17.393" v="437" actId="552"/>
          <ac:grpSpMkLst>
            <pc:docMk/>
            <pc:sldMk cId="247808234" sldId="2146849188"/>
            <ac:grpSpMk id="23" creationId="{F1E354EE-9DE3-95F2-8926-9B94B65A9BE3}"/>
          </ac:grpSpMkLst>
        </pc:grpChg>
      </pc:sldChg>
      <pc:sldChg chg="addSp delSp modSp mod ord chgLayout">
        <pc:chgData name="박민지 책임" userId="75b86538-d491-4a92-b3c7-339ac5f910b5" providerId="ADAL" clId="{CD0A09EC-5A8C-430E-BC68-2557523CC716}" dt="2024-07-15T02:08:52.780" v="571" actId="1036"/>
        <pc:sldMkLst>
          <pc:docMk/>
          <pc:sldMk cId="3443443874" sldId="2146849190"/>
        </pc:sldMkLst>
        <pc:spChg chg="add del mod ord">
          <ac:chgData name="박민지 책임" userId="75b86538-d491-4a92-b3c7-339ac5f910b5" providerId="ADAL" clId="{CD0A09EC-5A8C-430E-BC68-2557523CC716}" dt="2024-07-15T02:06:21.896" v="538" actId="478"/>
          <ac:spMkLst>
            <pc:docMk/>
            <pc:sldMk cId="3443443874" sldId="2146849190"/>
            <ac:spMk id="2" creationId="{C5D5AD22-3F1C-616D-7E2E-6D2D598977A5}"/>
          </ac:spMkLst>
        </pc:spChg>
        <pc:spChg chg="mod ord">
          <ac:chgData name="박민지 책임" userId="75b86538-d491-4a92-b3c7-339ac5f910b5" providerId="ADAL" clId="{CD0A09EC-5A8C-430E-BC68-2557523CC716}" dt="2024-07-15T02:05:26.488" v="530" actId="700"/>
          <ac:spMkLst>
            <pc:docMk/>
            <pc:sldMk cId="3443443874" sldId="2146849190"/>
            <ac:spMk id="3" creationId="{F40318FD-D9E5-71A7-4062-0A0B7D3E40B4}"/>
          </ac:spMkLst>
        </pc:spChg>
        <pc:spChg chg="add mod">
          <ac:chgData name="박민지 책임" userId="75b86538-d491-4a92-b3c7-339ac5f910b5" providerId="ADAL" clId="{CD0A09EC-5A8C-430E-BC68-2557523CC716}" dt="2024-07-15T02:05:54.342" v="535"/>
          <ac:spMkLst>
            <pc:docMk/>
            <pc:sldMk cId="3443443874" sldId="2146849190"/>
            <ac:spMk id="4" creationId="{E0FE8161-26FD-0DF8-EA83-FAC1B77B44AD}"/>
          </ac:spMkLst>
        </pc:spChg>
        <pc:spChg chg="mod">
          <ac:chgData name="박민지 책임" userId="75b86538-d491-4a92-b3c7-339ac5f910b5" providerId="ADAL" clId="{CD0A09EC-5A8C-430E-BC68-2557523CC716}" dt="2024-07-13T11:35:21.037" v="83" actId="403"/>
          <ac:spMkLst>
            <pc:docMk/>
            <pc:sldMk cId="3443443874" sldId="2146849190"/>
            <ac:spMk id="7" creationId="{0D06262E-489D-8D12-ABD2-94D6BFD74E7C}"/>
          </ac:spMkLst>
        </pc:spChg>
        <pc:spChg chg="add mod">
          <ac:chgData name="박민지 책임" userId="75b86538-d491-4a92-b3c7-339ac5f910b5" providerId="ADAL" clId="{CD0A09EC-5A8C-430E-BC68-2557523CC716}" dt="2024-07-15T02:06:00.468" v="536"/>
          <ac:spMkLst>
            <pc:docMk/>
            <pc:sldMk cId="3443443874" sldId="2146849190"/>
            <ac:spMk id="11" creationId="{2D27913D-9177-BC88-5E9D-A7C1BA92F60E}"/>
          </ac:spMkLst>
        </pc:spChg>
        <pc:spChg chg="mod">
          <ac:chgData name="박민지 책임" userId="75b86538-d491-4a92-b3c7-339ac5f910b5" providerId="ADAL" clId="{CD0A09EC-5A8C-430E-BC68-2557523CC716}" dt="2024-07-13T11:35:21.037" v="83" actId="403"/>
          <ac:spMkLst>
            <pc:docMk/>
            <pc:sldMk cId="3443443874" sldId="2146849190"/>
            <ac:spMk id="14" creationId="{0B745AED-5917-4690-96DE-FD271C749CE7}"/>
          </ac:spMkLst>
        </pc:spChg>
        <pc:spChg chg="add del mod">
          <ac:chgData name="박민지 책임" userId="75b86538-d491-4a92-b3c7-339ac5f910b5" providerId="ADAL" clId="{CD0A09EC-5A8C-430E-BC68-2557523CC716}" dt="2024-07-15T02:07:00.508" v="546" actId="478"/>
          <ac:spMkLst>
            <pc:docMk/>
            <pc:sldMk cId="3443443874" sldId="2146849190"/>
            <ac:spMk id="18" creationId="{715115D5-A107-F908-BE69-7949AFADAC71}"/>
          </ac:spMkLst>
        </pc:spChg>
        <pc:spChg chg="mod">
          <ac:chgData name="박민지 책임" userId="75b86538-d491-4a92-b3c7-339ac5f910b5" providerId="ADAL" clId="{CD0A09EC-5A8C-430E-BC68-2557523CC716}" dt="2024-07-13T11:35:21.037" v="83" actId="403"/>
          <ac:spMkLst>
            <pc:docMk/>
            <pc:sldMk cId="3443443874" sldId="2146849190"/>
            <ac:spMk id="21" creationId="{D6DDD990-87DC-16C0-4147-937E72587DA3}"/>
          </ac:spMkLst>
        </pc:spChg>
        <pc:spChg chg="add mod">
          <ac:chgData name="박민지 책임" userId="75b86538-d491-4a92-b3c7-339ac5f910b5" providerId="ADAL" clId="{CD0A09EC-5A8C-430E-BC68-2557523CC716}" dt="2024-07-15T02:08:52.780" v="571" actId="1036"/>
          <ac:spMkLst>
            <pc:docMk/>
            <pc:sldMk cId="3443443874" sldId="2146849190"/>
            <ac:spMk id="25" creationId="{08219C0A-A174-D42D-37AC-13EBBB218C64}"/>
          </ac:spMkLst>
        </pc:spChg>
        <pc:spChg chg="mod">
          <ac:chgData name="박민지 책임" userId="75b86538-d491-4a92-b3c7-339ac5f910b5" providerId="ADAL" clId="{CD0A09EC-5A8C-430E-BC68-2557523CC716}" dt="2024-07-13T11:35:21.037" v="83" actId="403"/>
          <ac:spMkLst>
            <pc:docMk/>
            <pc:sldMk cId="3443443874" sldId="2146849190"/>
            <ac:spMk id="28" creationId="{78C90FD5-6F19-C1E8-B538-583D2488D93D}"/>
          </ac:spMkLst>
        </pc:spChg>
        <pc:spChg chg="add del mod">
          <ac:chgData name="박민지 책임" userId="75b86538-d491-4a92-b3c7-339ac5f910b5" providerId="ADAL" clId="{CD0A09EC-5A8C-430E-BC68-2557523CC716}" dt="2024-07-15T02:06:24.079" v="539" actId="478"/>
          <ac:spMkLst>
            <pc:docMk/>
            <pc:sldMk cId="3443443874" sldId="2146849190"/>
            <ac:spMk id="33" creationId="{FEAE031E-2364-B62A-E145-DDEA7CC206D4}"/>
          </ac:spMkLst>
        </pc:spChg>
      </pc:sldChg>
      <pc:sldMasterChg chg="modSldLayout">
        <pc:chgData name="박민지 책임" userId="75b86538-d491-4a92-b3c7-339ac5f910b5" providerId="ADAL" clId="{CD0A09EC-5A8C-430E-BC68-2557523CC716}" dt="2024-07-13T11:28:16.993" v="22" actId="14100"/>
        <pc:sldMasterMkLst>
          <pc:docMk/>
          <pc:sldMasterMk cId="2409934308" sldId="2147483673"/>
        </pc:sldMasterMkLst>
        <pc:sldLayoutChg chg="modSp mod">
          <pc:chgData name="박민지 책임" userId="75b86538-d491-4a92-b3c7-339ac5f910b5" providerId="ADAL" clId="{CD0A09EC-5A8C-430E-BC68-2557523CC716}" dt="2024-07-13T11:28:12.180" v="21" actId="14100"/>
          <pc:sldLayoutMkLst>
            <pc:docMk/>
            <pc:sldMasterMk cId="2409934308" sldId="2147483673"/>
            <pc:sldLayoutMk cId="2267694919" sldId="2147483675"/>
          </pc:sldLayoutMkLst>
          <pc:cxnChg chg="mod">
            <ac:chgData name="박민지 책임" userId="75b86538-d491-4a92-b3c7-339ac5f910b5" providerId="ADAL" clId="{CD0A09EC-5A8C-430E-BC68-2557523CC716}" dt="2024-07-13T11:28:12.180" v="21" actId="14100"/>
            <ac:cxnSpMkLst>
              <pc:docMk/>
              <pc:sldMasterMk cId="2409934308" sldId="2147483673"/>
              <pc:sldLayoutMk cId="2267694919" sldId="2147483675"/>
              <ac:cxnSpMk id="116" creationId="{99BE49CB-058C-C3C8-7EA4-35D59F1471B8}"/>
            </ac:cxnSpMkLst>
          </pc:cxnChg>
        </pc:sldLayoutChg>
        <pc:sldLayoutChg chg="modSp mod">
          <pc:chgData name="박민지 책임" userId="75b86538-d491-4a92-b3c7-339ac5f910b5" providerId="ADAL" clId="{CD0A09EC-5A8C-430E-BC68-2557523CC716}" dt="2024-07-13T11:28:16.993" v="22" actId="14100"/>
          <pc:sldLayoutMkLst>
            <pc:docMk/>
            <pc:sldMasterMk cId="2409934308" sldId="2147483673"/>
            <pc:sldLayoutMk cId="2077306335" sldId="2147483685"/>
          </pc:sldLayoutMkLst>
          <pc:cxnChg chg="mod">
            <ac:chgData name="박민지 책임" userId="75b86538-d491-4a92-b3c7-339ac5f910b5" providerId="ADAL" clId="{CD0A09EC-5A8C-430E-BC68-2557523CC716}" dt="2024-07-13T11:28:16.993" v="22" actId="14100"/>
            <ac:cxnSpMkLst>
              <pc:docMk/>
              <pc:sldMasterMk cId="2409934308" sldId="2147483673"/>
              <pc:sldLayoutMk cId="2077306335" sldId="2147483685"/>
              <ac:cxnSpMk id="115" creationId="{C036D112-D416-00F1-676D-2941C6F6C6B7}"/>
            </ac:cxnSpMkLst>
          </pc:cxnChg>
        </pc:sldLayout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1.png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">
    <p:bg>
      <p:bgPr>
        <a:solidFill>
          <a:srgbClr val="E3E4E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>
            <a:extLst>
              <a:ext uri="{FF2B5EF4-FFF2-40B4-BE49-F238E27FC236}">
                <a16:creationId xmlns:a16="http://schemas.microsoft.com/office/drawing/2014/main" id="{B3F5D2BD-662E-C33C-98D1-AF0B37EA43C6}"/>
              </a:ext>
            </a:extLst>
          </p:cNvPr>
          <p:cNvGrpSpPr/>
          <p:nvPr userDrawn="1"/>
        </p:nvGrpSpPr>
        <p:grpSpPr>
          <a:xfrm>
            <a:off x="-732055" y="202453"/>
            <a:ext cx="651308" cy="6451719"/>
            <a:chOff x="-732055" y="202451"/>
            <a:chExt cx="651308" cy="6451719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CADD965-D2F6-4128-8A74-4CAE2BCC0975}"/>
                </a:ext>
              </a:extLst>
            </p:cNvPr>
            <p:cNvSpPr txBox="1"/>
            <p:nvPr userDrawn="1"/>
          </p:nvSpPr>
          <p:spPr>
            <a:xfrm rot="5400000">
              <a:off x="-869914" y="880479"/>
              <a:ext cx="1451320" cy="1270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dist="12700" dir="5400000" algn="t" rotWithShape="0">
                <a:schemeClr val="tx2"/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GB" sz="700" b="0">
                  <a:solidFill>
                    <a:schemeClr val="tx2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RIMARY </a:t>
              </a:r>
              <a:r>
                <a:rPr lang="ko-KR" altLang="en-US" sz="700" b="0" err="1">
                  <a:solidFill>
                    <a:schemeClr val="tx2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700" b="0">
                  <a:solidFill>
                    <a:schemeClr val="tx2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COLOURS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0C84988-E1F6-BC2C-81AC-8D181595483A}"/>
                </a:ext>
              </a:extLst>
            </p:cNvPr>
            <p:cNvSpPr txBox="1"/>
            <p:nvPr userDrawn="1"/>
          </p:nvSpPr>
          <p:spPr>
            <a:xfrm rot="5400000">
              <a:off x="-1119140" y="2625061"/>
              <a:ext cx="1949772" cy="1270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dist="12700" dir="5400000" algn="t" rotWithShape="0">
                <a:srgbClr val="483698"/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ECONDARY </a:t>
              </a:r>
              <a:r>
                <a:rPr lang="ko-KR" altLang="en-US" sz="700" b="0" err="1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COLOUR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196F272-54DF-9598-F952-93F4FC854190}"/>
                </a:ext>
              </a:extLst>
            </p:cNvPr>
            <p:cNvSpPr txBox="1"/>
            <p:nvPr userDrawn="1"/>
          </p:nvSpPr>
          <p:spPr>
            <a:xfrm rot="5400000">
              <a:off x="-1617593" y="5117323"/>
              <a:ext cx="2946677" cy="1270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dist="12700" dir="5400000" algn="t" rotWithShape="0">
                <a:srgbClr val="43B02A"/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TERTIARY </a:t>
              </a:r>
              <a:r>
                <a:rPr lang="ko-KR" altLang="en-US" sz="700" b="0" err="1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COLOURS</a:t>
              </a:r>
            </a:p>
          </p:txBody>
        </p:sp>
        <p:sp>
          <p:nvSpPr>
            <p:cNvPr id="11" name="Rectangle 12">
              <a:extLst>
                <a:ext uri="{FF2B5EF4-FFF2-40B4-BE49-F238E27FC236}">
                  <a16:creationId xmlns:a16="http://schemas.microsoft.com/office/drawing/2014/main" id="{886D6D62-FE7E-ECCB-0BC6-F92BDAF66CCF}"/>
                </a:ext>
              </a:extLst>
            </p:cNvPr>
            <p:cNvSpPr/>
            <p:nvPr userDrawn="1"/>
          </p:nvSpPr>
          <p:spPr>
            <a:xfrm rot="5400000">
              <a:off x="-612940" y="318519"/>
              <a:ext cx="454415" cy="254029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300" dirty="0" err="1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3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Blue</a:t>
              </a:r>
            </a:p>
            <a:p>
              <a:pPr algn="ctr"/>
              <a:r>
                <a:rPr lang="en-GB" sz="3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51 / 141</a:t>
              </a:r>
            </a:p>
          </p:txBody>
        </p:sp>
        <p:sp>
          <p:nvSpPr>
            <p:cNvPr id="12" name="Rectangle 13">
              <a:extLst>
                <a:ext uri="{FF2B5EF4-FFF2-40B4-BE49-F238E27FC236}">
                  <a16:creationId xmlns:a16="http://schemas.microsoft.com/office/drawing/2014/main" id="{325E627B-5EF7-83A4-2A1D-FEDCA31DD99C}"/>
                </a:ext>
              </a:extLst>
            </p:cNvPr>
            <p:cNvSpPr/>
            <p:nvPr userDrawn="1"/>
          </p:nvSpPr>
          <p:spPr>
            <a:xfrm rot="5400000">
              <a:off x="-612940" y="816972"/>
              <a:ext cx="454415" cy="254029"/>
            </a:xfrm>
            <a:prstGeom prst="rect">
              <a:avLst/>
            </a:prstGeom>
            <a:solidFill>
              <a:srgbClr val="005E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edium Blu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94 / 184</a:t>
              </a:r>
            </a:p>
          </p:txBody>
        </p:sp>
        <p:sp>
          <p:nvSpPr>
            <p:cNvPr id="13" name="Rectangle 14">
              <a:extLst>
                <a:ext uri="{FF2B5EF4-FFF2-40B4-BE49-F238E27FC236}">
                  <a16:creationId xmlns:a16="http://schemas.microsoft.com/office/drawing/2014/main" id="{7D10B9ED-FABF-A40B-D59A-70F265DBB1B1}"/>
                </a:ext>
              </a:extLst>
            </p:cNvPr>
            <p:cNvSpPr/>
            <p:nvPr userDrawn="1"/>
          </p:nvSpPr>
          <p:spPr>
            <a:xfrm rot="5400000">
              <a:off x="-612940" y="1315424"/>
              <a:ext cx="454415" cy="25402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ght Blu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145 / 218</a:t>
              </a:r>
            </a:p>
          </p:txBody>
        </p:sp>
        <p:sp>
          <p:nvSpPr>
            <p:cNvPr id="14" name="Rectangle 15">
              <a:extLst>
                <a:ext uri="{FF2B5EF4-FFF2-40B4-BE49-F238E27FC236}">
                  <a16:creationId xmlns:a16="http://schemas.microsoft.com/office/drawing/2014/main" id="{5D01F7BB-C03A-E4D5-22FB-5E1DF0ACF285}"/>
                </a:ext>
              </a:extLst>
            </p:cNvPr>
            <p:cNvSpPr/>
            <p:nvPr userDrawn="1"/>
          </p:nvSpPr>
          <p:spPr>
            <a:xfrm rot="5400000">
              <a:off x="-612940" y="1813877"/>
              <a:ext cx="454415" cy="254029"/>
            </a:xfrm>
            <a:prstGeom prst="rect">
              <a:avLst/>
            </a:prstGeom>
            <a:solidFill>
              <a:srgbClr val="4836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Violet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72 / 54 / 152</a:t>
              </a:r>
            </a:p>
          </p:txBody>
        </p:sp>
        <p:sp>
          <p:nvSpPr>
            <p:cNvPr id="15" name="Rectangle 16">
              <a:extLst>
                <a:ext uri="{FF2B5EF4-FFF2-40B4-BE49-F238E27FC236}">
                  <a16:creationId xmlns:a16="http://schemas.microsoft.com/office/drawing/2014/main" id="{BDC89F6E-957F-1A1C-3CD8-C8B15B7C03E2}"/>
                </a:ext>
              </a:extLst>
            </p:cNvPr>
            <p:cNvSpPr/>
            <p:nvPr userDrawn="1"/>
          </p:nvSpPr>
          <p:spPr>
            <a:xfrm rot="5400000">
              <a:off x="-612940" y="2312329"/>
              <a:ext cx="454415" cy="254029"/>
            </a:xfrm>
            <a:prstGeom prst="rect">
              <a:avLst/>
            </a:prstGeom>
            <a:solidFill>
              <a:srgbClr val="470A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urpl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71 / 10 / 104</a:t>
              </a:r>
            </a:p>
          </p:txBody>
        </p:sp>
        <p:sp>
          <p:nvSpPr>
            <p:cNvPr id="16" name="Rectangle 17">
              <a:extLst>
                <a:ext uri="{FF2B5EF4-FFF2-40B4-BE49-F238E27FC236}">
                  <a16:creationId xmlns:a16="http://schemas.microsoft.com/office/drawing/2014/main" id="{A021639B-23DE-DD81-A855-AEAD358E73B0}"/>
                </a:ext>
              </a:extLst>
            </p:cNvPr>
            <p:cNvSpPr/>
            <p:nvPr userDrawn="1"/>
          </p:nvSpPr>
          <p:spPr>
            <a:xfrm rot="5400000">
              <a:off x="-612940" y="2810781"/>
              <a:ext cx="454415" cy="254029"/>
            </a:xfrm>
            <a:prstGeom prst="rect">
              <a:avLst/>
            </a:prstGeom>
            <a:solidFill>
              <a:srgbClr val="6D20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ght Purpl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09 / 32 / 119</a:t>
              </a:r>
            </a:p>
          </p:txBody>
        </p:sp>
        <p:sp>
          <p:nvSpPr>
            <p:cNvPr id="17" name="Rectangle 18">
              <a:extLst>
                <a:ext uri="{FF2B5EF4-FFF2-40B4-BE49-F238E27FC236}">
                  <a16:creationId xmlns:a16="http://schemas.microsoft.com/office/drawing/2014/main" id="{2AD8AC72-DD61-6E44-7702-CC9EF955471D}"/>
                </a:ext>
              </a:extLst>
            </p:cNvPr>
            <p:cNvSpPr/>
            <p:nvPr userDrawn="1"/>
          </p:nvSpPr>
          <p:spPr>
            <a:xfrm rot="5400000">
              <a:off x="-612940" y="3309234"/>
              <a:ext cx="454415" cy="254029"/>
            </a:xfrm>
            <a:prstGeom prst="rect">
              <a:avLst/>
            </a:prstGeom>
            <a:solidFill>
              <a:srgbClr val="00A3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Green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163 / 161</a:t>
              </a:r>
            </a:p>
          </p:txBody>
        </p:sp>
        <p:sp>
          <p:nvSpPr>
            <p:cNvPr id="18" name="Rectangle 19">
              <a:extLst>
                <a:ext uri="{FF2B5EF4-FFF2-40B4-BE49-F238E27FC236}">
                  <a16:creationId xmlns:a16="http://schemas.microsoft.com/office/drawing/2014/main" id="{4A97259F-F322-B5CD-4602-2E70F6BFF3B2}"/>
                </a:ext>
              </a:extLst>
            </p:cNvPr>
            <p:cNvSpPr/>
            <p:nvPr userDrawn="1"/>
          </p:nvSpPr>
          <p:spPr>
            <a:xfrm rot="5400000">
              <a:off x="-612940" y="3807686"/>
              <a:ext cx="454415" cy="254029"/>
            </a:xfrm>
            <a:prstGeom prst="rect">
              <a:avLst/>
            </a:prstGeom>
            <a:solidFill>
              <a:srgbClr val="009A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rk Green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154 / 68</a:t>
              </a:r>
            </a:p>
          </p:txBody>
        </p:sp>
        <p:sp>
          <p:nvSpPr>
            <p:cNvPr id="19" name="Rectangle 20">
              <a:extLst>
                <a:ext uri="{FF2B5EF4-FFF2-40B4-BE49-F238E27FC236}">
                  <a16:creationId xmlns:a16="http://schemas.microsoft.com/office/drawing/2014/main" id="{69B4BD1B-3D8B-EAF1-D484-A2DF127C97BA}"/>
                </a:ext>
              </a:extLst>
            </p:cNvPr>
            <p:cNvSpPr/>
            <p:nvPr userDrawn="1"/>
          </p:nvSpPr>
          <p:spPr>
            <a:xfrm rot="5400000">
              <a:off x="-612940" y="4306139"/>
              <a:ext cx="454415" cy="254029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ght Green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67 / 176 / 42</a:t>
              </a:r>
            </a:p>
          </p:txBody>
        </p:sp>
        <p:sp>
          <p:nvSpPr>
            <p:cNvPr id="20" name="Rectangle 21">
              <a:extLst>
                <a:ext uri="{FF2B5EF4-FFF2-40B4-BE49-F238E27FC236}">
                  <a16:creationId xmlns:a16="http://schemas.microsoft.com/office/drawing/2014/main" id="{B4B7261F-6845-1E24-DE7F-6FD6DC793638}"/>
                </a:ext>
              </a:extLst>
            </p:cNvPr>
            <p:cNvSpPr/>
            <p:nvPr userDrawn="1"/>
          </p:nvSpPr>
          <p:spPr>
            <a:xfrm rot="5400000">
              <a:off x="-612940" y="4804591"/>
              <a:ext cx="454415" cy="254029"/>
            </a:xfrm>
            <a:prstGeom prst="rect">
              <a:avLst/>
            </a:prstGeom>
            <a:solidFill>
              <a:srgbClr val="EAA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Yellow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34 / 170 / 0</a:t>
              </a:r>
            </a:p>
          </p:txBody>
        </p:sp>
        <p:sp>
          <p:nvSpPr>
            <p:cNvPr id="21" name="Rectangle 22">
              <a:extLst>
                <a:ext uri="{FF2B5EF4-FFF2-40B4-BE49-F238E27FC236}">
                  <a16:creationId xmlns:a16="http://schemas.microsoft.com/office/drawing/2014/main" id="{7288B571-34E2-3477-B882-618809DD1A66}"/>
                </a:ext>
              </a:extLst>
            </p:cNvPr>
            <p:cNvSpPr/>
            <p:nvPr userDrawn="1"/>
          </p:nvSpPr>
          <p:spPr>
            <a:xfrm rot="5400000">
              <a:off x="-612940" y="5303043"/>
              <a:ext cx="454415" cy="254029"/>
            </a:xfrm>
            <a:prstGeom prst="rect">
              <a:avLst/>
            </a:prstGeom>
            <a:solidFill>
              <a:srgbClr val="F68D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Orang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46 / 141 / 46</a:t>
              </a:r>
            </a:p>
          </p:txBody>
        </p:sp>
        <p:sp>
          <p:nvSpPr>
            <p:cNvPr id="22" name="Rectangle 23">
              <a:extLst>
                <a:ext uri="{FF2B5EF4-FFF2-40B4-BE49-F238E27FC236}">
                  <a16:creationId xmlns:a16="http://schemas.microsoft.com/office/drawing/2014/main" id="{BA61E745-6DD2-1F0A-A1E1-0A567910AEFC}"/>
                </a:ext>
              </a:extLst>
            </p:cNvPr>
            <p:cNvSpPr/>
            <p:nvPr userDrawn="1"/>
          </p:nvSpPr>
          <p:spPr>
            <a:xfrm rot="5400000">
              <a:off x="-612940" y="5801496"/>
              <a:ext cx="454415" cy="254029"/>
            </a:xfrm>
            <a:prstGeom prst="rect">
              <a:avLst/>
            </a:prstGeom>
            <a:solidFill>
              <a:srgbClr val="BC2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ed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88 / 32 / 75</a:t>
              </a:r>
            </a:p>
          </p:txBody>
        </p:sp>
        <p:sp>
          <p:nvSpPr>
            <p:cNvPr id="23" name="Rectangle 25">
              <a:extLst>
                <a:ext uri="{FF2B5EF4-FFF2-40B4-BE49-F238E27FC236}">
                  <a16:creationId xmlns:a16="http://schemas.microsoft.com/office/drawing/2014/main" id="{3130B164-FD9A-8206-D2DD-4ED5BC5A27C5}"/>
                </a:ext>
              </a:extLst>
            </p:cNvPr>
            <p:cNvSpPr/>
            <p:nvPr userDrawn="1"/>
          </p:nvSpPr>
          <p:spPr>
            <a:xfrm rot="5400000">
              <a:off x="-612940" y="6299948"/>
              <a:ext cx="454415" cy="254029"/>
            </a:xfrm>
            <a:prstGeom prst="rect">
              <a:avLst/>
            </a:prstGeom>
            <a:solidFill>
              <a:srgbClr val="C600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ink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98 / 0 / 126</a:t>
              </a:r>
            </a:p>
          </p:txBody>
        </p:sp>
        <p:sp>
          <p:nvSpPr>
            <p:cNvPr id="24" name="Rectangle 5">
              <a:extLst>
                <a:ext uri="{FF2B5EF4-FFF2-40B4-BE49-F238E27FC236}">
                  <a16:creationId xmlns:a16="http://schemas.microsoft.com/office/drawing/2014/main" id="{A5EAF1B8-110D-E1B6-C5A8-DDDA4002AC75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75526"/>
              <a:ext cx="143082" cy="142065"/>
            </a:xfrm>
            <a:prstGeom prst="rect">
              <a:avLst/>
            </a:prstGeom>
            <a:solidFill>
              <a:srgbClr val="4066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" name="Rectangle 36">
              <a:extLst>
                <a:ext uri="{FF2B5EF4-FFF2-40B4-BE49-F238E27FC236}">
                  <a16:creationId xmlns:a16="http://schemas.microsoft.com/office/drawing/2014/main" id="{1B28496D-0113-00B4-FC67-C9AFB00DCADB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548093"/>
              <a:ext cx="143082" cy="142065"/>
            </a:xfrm>
            <a:prstGeom prst="rect">
              <a:avLst/>
            </a:prstGeom>
            <a:solidFill>
              <a:srgbClr val="8099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" name="Rectangle 31">
              <a:extLst>
                <a:ext uri="{FF2B5EF4-FFF2-40B4-BE49-F238E27FC236}">
                  <a16:creationId xmlns:a16="http://schemas.microsoft.com/office/drawing/2014/main" id="{7039D9B8-D541-F0D5-F698-68250D84CF2B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720659"/>
              <a:ext cx="143082" cy="142065"/>
            </a:xfrm>
            <a:prstGeom prst="rect">
              <a:avLst/>
            </a:prstGeom>
            <a:solidFill>
              <a:srgbClr val="BFCC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7" name="Rectangle 6">
              <a:extLst>
                <a:ext uri="{FF2B5EF4-FFF2-40B4-BE49-F238E27FC236}">
                  <a16:creationId xmlns:a16="http://schemas.microsoft.com/office/drawing/2014/main" id="{52A7450A-7415-8E82-5F69-D4EEE8B25413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446322"/>
              <a:ext cx="143082" cy="142065"/>
            </a:xfrm>
            <a:prstGeom prst="rect">
              <a:avLst/>
            </a:prstGeom>
            <a:solidFill>
              <a:srgbClr val="7668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47AD59B3-B0C7-B0FC-A222-D4DD0D996C17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618888"/>
              <a:ext cx="143082" cy="142065"/>
            </a:xfrm>
            <a:prstGeom prst="rect">
              <a:avLst/>
            </a:prstGeom>
            <a:solidFill>
              <a:srgbClr val="A39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9" name="Rectangle 32">
              <a:extLst>
                <a:ext uri="{FF2B5EF4-FFF2-40B4-BE49-F238E27FC236}">
                  <a16:creationId xmlns:a16="http://schemas.microsoft.com/office/drawing/2014/main" id="{210FECB2-C6DC-B27F-A725-AFF88556486E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791454"/>
              <a:ext cx="143082" cy="142065"/>
            </a:xfrm>
            <a:prstGeom prst="rect">
              <a:avLst/>
            </a:prstGeom>
            <a:solidFill>
              <a:srgbClr val="D1CD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0" name="Rectangle 7">
              <a:extLst>
                <a:ext uri="{FF2B5EF4-FFF2-40B4-BE49-F238E27FC236}">
                  <a16:creationId xmlns:a16="http://schemas.microsoft.com/office/drawing/2014/main" id="{1808B1A4-B4F1-98CA-1A84-D0314DF180DD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898555"/>
              <a:ext cx="143082" cy="142065"/>
            </a:xfrm>
            <a:prstGeom prst="rect">
              <a:avLst/>
            </a:prstGeom>
            <a:solidFill>
              <a:srgbClr val="40BA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1" name="Rectangle 20">
              <a:extLst>
                <a:ext uri="{FF2B5EF4-FFF2-40B4-BE49-F238E27FC236}">
                  <a16:creationId xmlns:a16="http://schemas.microsoft.com/office/drawing/2014/main" id="{55B82999-F455-EC84-0DFF-BAF4E965C16F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071121"/>
              <a:ext cx="143082" cy="142065"/>
            </a:xfrm>
            <a:prstGeom prst="rect">
              <a:avLst/>
            </a:prstGeom>
            <a:solidFill>
              <a:srgbClr val="80D1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2" name="Rectangle 33">
              <a:extLst>
                <a:ext uri="{FF2B5EF4-FFF2-40B4-BE49-F238E27FC236}">
                  <a16:creationId xmlns:a16="http://schemas.microsoft.com/office/drawing/2014/main" id="{4CDB636A-5DCC-F67F-355F-B6D536506D84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243687"/>
              <a:ext cx="143082" cy="142065"/>
            </a:xfrm>
            <a:prstGeom prst="rect">
              <a:avLst/>
            </a:prstGeom>
            <a:solidFill>
              <a:srgbClr val="BF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" name="Rectangle 8">
              <a:extLst>
                <a:ext uri="{FF2B5EF4-FFF2-40B4-BE49-F238E27FC236}">
                  <a16:creationId xmlns:a16="http://schemas.microsoft.com/office/drawing/2014/main" id="{4124B0C7-3BD1-435B-58F1-875E2F220AF0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969350"/>
              <a:ext cx="143082" cy="142065"/>
            </a:xfrm>
            <a:prstGeom prst="rect">
              <a:avLst/>
            </a:prstGeom>
            <a:solidFill>
              <a:srgbClr val="EFBF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4" name="Rectangle 21">
              <a:extLst>
                <a:ext uri="{FF2B5EF4-FFF2-40B4-BE49-F238E27FC236}">
                  <a16:creationId xmlns:a16="http://schemas.microsoft.com/office/drawing/2014/main" id="{FD6BF5CB-5719-0D38-728C-92D43C5CC5C2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6141916"/>
              <a:ext cx="143082" cy="142065"/>
            </a:xfrm>
            <a:prstGeom prst="rect">
              <a:avLst/>
            </a:prstGeom>
            <a:solidFill>
              <a:srgbClr val="F5D4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3197007-4B9F-9CD3-3346-8E9CBD3E9567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6314483"/>
              <a:ext cx="143082" cy="142065"/>
            </a:xfrm>
            <a:prstGeom prst="rect">
              <a:avLst/>
            </a:prstGeom>
            <a:solidFill>
              <a:srgbClr val="FAEA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6" name="Rectangle 9">
              <a:extLst>
                <a:ext uri="{FF2B5EF4-FFF2-40B4-BE49-F238E27FC236}">
                  <a16:creationId xmlns:a16="http://schemas.microsoft.com/office/drawing/2014/main" id="{14AF001F-971C-6E0C-54F6-4EB7D862E14E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756056"/>
              <a:ext cx="143082" cy="142065"/>
            </a:xfrm>
            <a:prstGeom prst="rect">
              <a:avLst/>
            </a:prstGeom>
            <a:solidFill>
              <a:srgbClr val="40AC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7" name="Rectangle 22">
              <a:extLst>
                <a:ext uri="{FF2B5EF4-FFF2-40B4-BE49-F238E27FC236}">
                  <a16:creationId xmlns:a16="http://schemas.microsoft.com/office/drawing/2014/main" id="{819BEB57-46E1-173D-AFB3-85590BEFF2DF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928623"/>
              <a:ext cx="143082" cy="142065"/>
            </a:xfrm>
            <a:prstGeom prst="rect">
              <a:avLst/>
            </a:prstGeom>
            <a:solidFill>
              <a:srgbClr val="80C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8" name="Rectangle 49">
              <a:extLst>
                <a:ext uri="{FF2B5EF4-FFF2-40B4-BE49-F238E27FC236}">
                  <a16:creationId xmlns:a16="http://schemas.microsoft.com/office/drawing/2014/main" id="{EF3E77B9-202F-189F-7864-7724DFD56966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101189"/>
              <a:ext cx="143082" cy="142065"/>
            </a:xfrm>
            <a:prstGeom prst="rect">
              <a:avLst/>
            </a:prstGeom>
            <a:solidFill>
              <a:srgbClr val="BFE3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9" name="Rectangle 11">
              <a:extLst>
                <a:ext uri="{FF2B5EF4-FFF2-40B4-BE49-F238E27FC236}">
                  <a16:creationId xmlns:a16="http://schemas.microsoft.com/office/drawing/2014/main" id="{4130B9A1-777A-3044-415C-04B501E9CC75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279085"/>
              <a:ext cx="143082" cy="142065"/>
            </a:xfrm>
            <a:prstGeom prst="rect">
              <a:avLst/>
            </a:prstGeom>
            <a:solidFill>
              <a:srgbClr val="72B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0" name="Rectangle 24">
              <a:extLst>
                <a:ext uri="{FF2B5EF4-FFF2-40B4-BE49-F238E27FC236}">
                  <a16:creationId xmlns:a16="http://schemas.microsoft.com/office/drawing/2014/main" id="{5723BC63-D00E-6246-9E83-613F8083E41D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451651"/>
              <a:ext cx="143082" cy="142065"/>
            </a:xfrm>
            <a:prstGeom prst="rect">
              <a:avLst/>
            </a:prstGeom>
            <a:solidFill>
              <a:srgbClr val="A1D3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1" name="Rectangle 55">
              <a:extLst>
                <a:ext uri="{FF2B5EF4-FFF2-40B4-BE49-F238E27FC236}">
                  <a16:creationId xmlns:a16="http://schemas.microsoft.com/office/drawing/2014/main" id="{B18B5CD8-D2C8-6788-0194-6044E79BF860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624218"/>
              <a:ext cx="143082" cy="142065"/>
            </a:xfrm>
            <a:prstGeom prst="rect">
              <a:avLst/>
            </a:prstGeom>
            <a:solidFill>
              <a:srgbClr val="D0E9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2" name="Rectangle 13">
              <a:extLst>
                <a:ext uri="{FF2B5EF4-FFF2-40B4-BE49-F238E27FC236}">
                  <a16:creationId xmlns:a16="http://schemas.microsoft.com/office/drawing/2014/main" id="{A84BE6A6-B9EA-4FFD-AFCD-AF5FEBE62546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065791"/>
              <a:ext cx="143082" cy="142065"/>
            </a:xfrm>
            <a:prstGeom prst="rect">
              <a:avLst/>
            </a:prstGeom>
            <a:solidFill>
              <a:srgbClr val="4086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3" name="Rectangle 26">
              <a:extLst>
                <a:ext uri="{FF2B5EF4-FFF2-40B4-BE49-F238E27FC236}">
                  <a16:creationId xmlns:a16="http://schemas.microsoft.com/office/drawing/2014/main" id="{F3FBECAF-E3AE-7FF0-0EFF-B41031DB31FC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238358"/>
              <a:ext cx="143082" cy="142065"/>
            </a:xfrm>
            <a:prstGeom prst="rect">
              <a:avLst/>
            </a:prstGeom>
            <a:solidFill>
              <a:srgbClr val="80AE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4" name="Rectangle 39">
              <a:extLst>
                <a:ext uri="{FF2B5EF4-FFF2-40B4-BE49-F238E27FC236}">
                  <a16:creationId xmlns:a16="http://schemas.microsoft.com/office/drawing/2014/main" id="{A86F1DCA-748C-B145-A3F1-4C7544202F62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410924"/>
              <a:ext cx="143082" cy="142065"/>
            </a:xfrm>
            <a:prstGeom prst="rect">
              <a:avLst/>
            </a:prstGeom>
            <a:solidFill>
              <a:srgbClr val="BFD7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5" name="Rectangle 14">
              <a:extLst>
                <a:ext uri="{FF2B5EF4-FFF2-40B4-BE49-F238E27FC236}">
                  <a16:creationId xmlns:a16="http://schemas.microsoft.com/office/drawing/2014/main" id="{73FE94EF-EA4F-6D72-BBFD-72DB99056A3C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136587"/>
              <a:ext cx="143082" cy="142065"/>
            </a:xfrm>
            <a:prstGeom prst="rect">
              <a:avLst/>
            </a:prstGeom>
            <a:solidFill>
              <a:srgbClr val="7747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6" name="Rectangle 27">
              <a:extLst>
                <a:ext uri="{FF2B5EF4-FFF2-40B4-BE49-F238E27FC236}">
                  <a16:creationId xmlns:a16="http://schemas.microsoft.com/office/drawing/2014/main" id="{A8401114-C613-30A3-0214-55E0376D2398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309153"/>
              <a:ext cx="143082" cy="142065"/>
            </a:xfrm>
            <a:prstGeom prst="rect">
              <a:avLst/>
            </a:prstGeom>
            <a:solidFill>
              <a:srgbClr val="A485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7" name="Rectangle 40">
              <a:extLst>
                <a:ext uri="{FF2B5EF4-FFF2-40B4-BE49-F238E27FC236}">
                  <a16:creationId xmlns:a16="http://schemas.microsoft.com/office/drawing/2014/main" id="{F195AA4B-5A4D-A47A-555E-318B613954B8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481719"/>
              <a:ext cx="143082" cy="142065"/>
            </a:xfrm>
            <a:prstGeom prst="rect">
              <a:avLst/>
            </a:prstGeom>
            <a:solidFill>
              <a:srgbClr val="D2C2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8" name="Rectangle 15">
              <a:extLst>
                <a:ext uri="{FF2B5EF4-FFF2-40B4-BE49-F238E27FC236}">
                  <a16:creationId xmlns:a16="http://schemas.microsoft.com/office/drawing/2014/main" id="{C42EBAB0-0321-DD7E-7D25-9EE510CED676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588820"/>
              <a:ext cx="143082" cy="142065"/>
            </a:xfrm>
            <a:prstGeom prst="rect">
              <a:avLst/>
            </a:prstGeom>
            <a:solidFill>
              <a:srgbClr val="40B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9" name="Rectangle 28">
              <a:extLst>
                <a:ext uri="{FF2B5EF4-FFF2-40B4-BE49-F238E27FC236}">
                  <a16:creationId xmlns:a16="http://schemas.microsoft.com/office/drawing/2014/main" id="{9029214A-F887-C10F-B086-0128A4494023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761386"/>
              <a:ext cx="143082" cy="142065"/>
            </a:xfrm>
            <a:prstGeom prst="rect">
              <a:avLst/>
            </a:prstGeom>
            <a:solidFill>
              <a:srgbClr val="80CD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0" name="Rectangle 41">
              <a:extLst>
                <a:ext uri="{FF2B5EF4-FFF2-40B4-BE49-F238E27FC236}">
                  <a16:creationId xmlns:a16="http://schemas.microsoft.com/office/drawing/2014/main" id="{E54555F1-3EC5-79DA-554A-521999392D20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933953"/>
              <a:ext cx="143082" cy="142065"/>
            </a:xfrm>
            <a:prstGeom prst="rect">
              <a:avLst/>
            </a:prstGeom>
            <a:solidFill>
              <a:srgbClr val="BFE6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1" name="Rectangle 5">
              <a:extLst>
                <a:ext uri="{FF2B5EF4-FFF2-40B4-BE49-F238E27FC236}">
                  <a16:creationId xmlns:a16="http://schemas.microsoft.com/office/drawing/2014/main" id="{FC8525EB-8C1B-CA0F-097D-17AEC73B7DE2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02959"/>
              <a:ext cx="143082" cy="142065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2" name="Rectangle 6">
              <a:extLst>
                <a:ext uri="{FF2B5EF4-FFF2-40B4-BE49-F238E27FC236}">
                  <a16:creationId xmlns:a16="http://schemas.microsoft.com/office/drawing/2014/main" id="{68FD9857-218A-8F39-832F-4E18455236E7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273755"/>
              <a:ext cx="143082" cy="142065"/>
            </a:xfrm>
            <a:prstGeom prst="rect">
              <a:avLst/>
            </a:prstGeom>
            <a:solidFill>
              <a:srgbClr val="483698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3" name="Rectangle 7">
              <a:extLst>
                <a:ext uri="{FF2B5EF4-FFF2-40B4-BE49-F238E27FC236}">
                  <a16:creationId xmlns:a16="http://schemas.microsoft.com/office/drawing/2014/main" id="{E34E51F0-D5C4-3E8A-AE0E-386D448D5CB4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725989"/>
              <a:ext cx="143082" cy="142065"/>
            </a:xfrm>
            <a:prstGeom prst="rect">
              <a:avLst/>
            </a:prstGeom>
            <a:solidFill>
              <a:srgbClr val="00A3A1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4" name="Rectangle 8">
              <a:extLst>
                <a:ext uri="{FF2B5EF4-FFF2-40B4-BE49-F238E27FC236}">
                  <a16:creationId xmlns:a16="http://schemas.microsoft.com/office/drawing/2014/main" id="{AB30BD38-CDFC-EC35-6B04-A24AD0EE0970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796784"/>
              <a:ext cx="143082" cy="142065"/>
            </a:xfrm>
            <a:prstGeom prst="rect">
              <a:avLst/>
            </a:prstGeom>
            <a:solidFill>
              <a:srgbClr val="EAAA00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5" name="Rectangle 9">
              <a:extLst>
                <a:ext uri="{FF2B5EF4-FFF2-40B4-BE49-F238E27FC236}">
                  <a16:creationId xmlns:a16="http://schemas.microsoft.com/office/drawing/2014/main" id="{49EC2FA5-D0A7-C31B-9C8F-A9E9230B652A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583490"/>
              <a:ext cx="143082" cy="142065"/>
            </a:xfrm>
            <a:prstGeom prst="rect">
              <a:avLst/>
            </a:prstGeom>
            <a:solidFill>
              <a:srgbClr val="0091DA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6" name="Rectangle 11">
              <a:extLst>
                <a:ext uri="{FF2B5EF4-FFF2-40B4-BE49-F238E27FC236}">
                  <a16:creationId xmlns:a16="http://schemas.microsoft.com/office/drawing/2014/main" id="{D1F13AA0-D3DE-F2CE-0933-4E9C024764AA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106519"/>
              <a:ext cx="143082" cy="14206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7" name="Rectangle 13">
              <a:extLst>
                <a:ext uri="{FF2B5EF4-FFF2-40B4-BE49-F238E27FC236}">
                  <a16:creationId xmlns:a16="http://schemas.microsoft.com/office/drawing/2014/main" id="{821A9154-6276-5397-BDA7-DE95B625FDD7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893225"/>
              <a:ext cx="143082" cy="142065"/>
            </a:xfrm>
            <a:prstGeom prst="rect">
              <a:avLst/>
            </a:prstGeom>
            <a:solidFill>
              <a:srgbClr val="005EB8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8" name="Rectangle 14">
              <a:extLst>
                <a:ext uri="{FF2B5EF4-FFF2-40B4-BE49-F238E27FC236}">
                  <a16:creationId xmlns:a16="http://schemas.microsoft.com/office/drawing/2014/main" id="{94601522-70BE-8C5F-0CDB-F2BEAD564290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964020"/>
              <a:ext cx="143082" cy="142065"/>
            </a:xfrm>
            <a:prstGeom prst="rect">
              <a:avLst/>
            </a:prstGeom>
            <a:solidFill>
              <a:srgbClr val="470A68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9" name="Rectangle 15">
              <a:extLst>
                <a:ext uri="{FF2B5EF4-FFF2-40B4-BE49-F238E27FC236}">
                  <a16:creationId xmlns:a16="http://schemas.microsoft.com/office/drawing/2014/main" id="{E26F205B-DCAE-1877-DF8C-F4B1E443D410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416254"/>
              <a:ext cx="143082" cy="142065"/>
            </a:xfrm>
            <a:prstGeom prst="rect">
              <a:avLst/>
            </a:prstGeom>
            <a:solidFill>
              <a:srgbClr val="009A44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60" name="부제목 35">
            <a:extLst>
              <a:ext uri="{FF2B5EF4-FFF2-40B4-BE49-F238E27FC236}">
                <a16:creationId xmlns:a16="http://schemas.microsoft.com/office/drawing/2014/main" id="{D4B0C097-661B-8DD2-213D-BD4F45693FB2}"/>
              </a:ext>
            </a:extLst>
          </p:cNvPr>
          <p:cNvSpPr txBox="1">
            <a:spLocks/>
          </p:cNvSpPr>
          <p:nvPr userDrawn="1"/>
        </p:nvSpPr>
        <p:spPr bwMode="auto">
          <a:xfrm>
            <a:off x="424796" y="6591338"/>
            <a:ext cx="8884024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latinLnBrk="1" hangingPunct="0">
              <a:spcBef>
                <a:spcPct val="30000"/>
              </a:spcBef>
              <a:spcAft>
                <a:spcPct val="0"/>
              </a:spcAft>
              <a:buFontTx/>
              <a:buNone/>
              <a:defRPr kumimoji="1" lang="ko-KR" altLang="en-US" sz="1200" b="0" kern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360363" indent="-174625" algn="l" rtl="0" eaLnBrk="0" fontAlgn="base" latinLnBrk="1" hangingPunct="0">
              <a:spcBef>
                <a:spcPct val="30000"/>
              </a:spcBef>
              <a:spcAft>
                <a:spcPct val="0"/>
              </a:spcAft>
              <a:buFont typeface="Wingdings" pitchFamily="2" charset="2"/>
              <a:buChar char="§"/>
              <a:defRPr kumimoji="1" sz="1600">
                <a:solidFill>
                  <a:schemeClr val="tx1"/>
                </a:solidFill>
                <a:latin typeface="+mn-ea"/>
                <a:ea typeface="+mn-ea"/>
              </a:defRPr>
            </a:lvl2pPr>
            <a:lvl3pPr marL="622300" indent="-169863" algn="l" rtl="0" eaLnBrk="0" fontAlgn="base" latinLnBrk="1" hangingPunct="0">
              <a:spcBef>
                <a:spcPct val="30000"/>
              </a:spcBef>
              <a:spcAft>
                <a:spcPct val="0"/>
              </a:spcAft>
              <a:buFont typeface="Arial" charset="0"/>
              <a:buChar char="•"/>
              <a:defRPr kumimoji="1" sz="1400">
                <a:solidFill>
                  <a:schemeClr val="tx1"/>
                </a:solidFill>
                <a:latin typeface="+mn-ea"/>
                <a:ea typeface="+mn-ea"/>
              </a:defRPr>
            </a:lvl3pPr>
            <a:lvl4pPr marL="809625" indent="-185738" algn="l" rtl="0" eaLnBrk="0" fontAlgn="base" latinLnBrk="1" hangingPunct="0">
              <a:spcBef>
                <a:spcPct val="30000"/>
              </a:spcBef>
              <a:spcAft>
                <a:spcPct val="0"/>
              </a:spcAft>
              <a:buFont typeface="Arial" charset="0"/>
              <a:buChar char="–"/>
              <a:defRPr kumimoji="1" sz="1200">
                <a:solidFill>
                  <a:schemeClr val="tx1"/>
                </a:solidFill>
                <a:latin typeface="+mn-ea"/>
                <a:ea typeface="+mn-ea"/>
              </a:defRPr>
            </a:lvl4pPr>
            <a:lvl5pPr marL="984250" indent="-173038" algn="l" rtl="0" eaLnBrk="0" fontAlgn="base" latinLnBrk="1" hangingPunct="0">
              <a:spcBef>
                <a:spcPct val="3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+mn-ea"/>
                <a:ea typeface="+mn-ea"/>
              </a:defRPr>
            </a:lvl5pPr>
            <a:lvl6pPr marL="1441450" indent="-173038" algn="l" rtl="0" fontAlgn="base" latinLnBrk="1">
              <a:spcBef>
                <a:spcPct val="30000"/>
              </a:spcBef>
              <a:spcAft>
                <a:spcPct val="0"/>
              </a:spcAft>
              <a:buFont typeface="Arial" pitchFamily="34" charset="0"/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1898650" indent="-173038" algn="l" rtl="0" fontAlgn="base" latinLnBrk="1">
              <a:spcBef>
                <a:spcPct val="30000"/>
              </a:spcBef>
              <a:spcAft>
                <a:spcPct val="0"/>
              </a:spcAft>
              <a:buFont typeface="Arial" pitchFamily="34" charset="0"/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2355850" indent="-173038" algn="l" rtl="0" fontAlgn="base" latinLnBrk="1">
              <a:spcBef>
                <a:spcPct val="30000"/>
              </a:spcBef>
              <a:spcAft>
                <a:spcPct val="0"/>
              </a:spcAft>
              <a:buFont typeface="Arial" pitchFamily="34" charset="0"/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2813050" indent="-173038" algn="l" rtl="0" fontAlgn="base" latinLnBrk="1">
              <a:spcBef>
                <a:spcPct val="30000"/>
              </a:spcBef>
              <a:spcAft>
                <a:spcPct val="0"/>
              </a:spcAft>
              <a:buFont typeface="Arial" pitchFamily="34" charset="0"/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altLang="ko-KR" sz="800" b="1" dirty="0">
                <a:solidFill>
                  <a:srgbClr val="4E4F50"/>
                </a:solidFill>
              </a:rPr>
              <a:t>CONFIDENTIAL AND PROPRIETARY  </a:t>
            </a:r>
            <a:r>
              <a:rPr lang="en-US" altLang="ko-KR" sz="800" dirty="0">
                <a:solidFill>
                  <a:srgbClr val="4E4F50"/>
                </a:solidFill>
              </a:rPr>
              <a:t>|  Any use of this material without specific permission of </a:t>
            </a:r>
            <a:r>
              <a:rPr lang="en-US" altLang="ko-KR" sz="800" dirty="0" err="1">
                <a:solidFill>
                  <a:srgbClr val="4E4F50"/>
                </a:solidFill>
              </a:rPr>
              <a:t>Vanguardlab</a:t>
            </a:r>
            <a:r>
              <a:rPr lang="en-US" altLang="ko-KR" sz="800" dirty="0">
                <a:solidFill>
                  <a:srgbClr val="4E4F50"/>
                </a:solidFill>
              </a:rPr>
              <a:t> is strictly prohibited</a:t>
            </a:r>
          </a:p>
        </p:txBody>
      </p:sp>
      <p:grpSp>
        <p:nvGrpSpPr>
          <p:cNvPr id="61" name="그룹 60">
            <a:extLst>
              <a:ext uri="{FF2B5EF4-FFF2-40B4-BE49-F238E27FC236}">
                <a16:creationId xmlns:a16="http://schemas.microsoft.com/office/drawing/2014/main" id="{9C1B8E63-0CA0-E8F3-6273-E6725BF39851}"/>
              </a:ext>
            </a:extLst>
          </p:cNvPr>
          <p:cNvGrpSpPr/>
          <p:nvPr userDrawn="1"/>
        </p:nvGrpSpPr>
        <p:grpSpPr>
          <a:xfrm>
            <a:off x="-1686237" y="249507"/>
            <a:ext cx="905097" cy="1763289"/>
            <a:chOff x="-2426585" y="2628263"/>
            <a:chExt cx="1763779" cy="1763289"/>
          </a:xfrm>
        </p:grpSpPr>
        <p:sp>
          <p:nvSpPr>
            <p:cNvPr id="62" name="Rectangle 3">
              <a:extLst>
                <a:ext uri="{FF2B5EF4-FFF2-40B4-BE49-F238E27FC236}">
                  <a16:creationId xmlns:a16="http://schemas.microsoft.com/office/drawing/2014/main" id="{99D6979E-1B12-617D-641D-CDF90ECC1CE2}"/>
                </a:ext>
              </a:extLst>
            </p:cNvPr>
            <p:cNvSpPr/>
            <p:nvPr/>
          </p:nvSpPr>
          <p:spPr>
            <a:xfrm>
              <a:off x="-2426585" y="2880263"/>
              <a:ext cx="763000" cy="252000"/>
            </a:xfrm>
            <a:prstGeom prst="rect">
              <a:avLst/>
            </a:prstGeom>
            <a:solidFill>
              <a:srgbClr val="1E49E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 / 73 / 226</a:t>
              </a:r>
            </a:p>
          </p:txBody>
        </p:sp>
        <p:sp>
          <p:nvSpPr>
            <p:cNvPr id="63" name="Rectangle 4">
              <a:extLst>
                <a:ext uri="{FF2B5EF4-FFF2-40B4-BE49-F238E27FC236}">
                  <a16:creationId xmlns:a16="http://schemas.microsoft.com/office/drawing/2014/main" id="{7A87154A-556C-647E-83F7-3A7682451E54}"/>
                </a:ext>
              </a:extLst>
            </p:cNvPr>
            <p:cNvSpPr/>
            <p:nvPr/>
          </p:nvSpPr>
          <p:spPr>
            <a:xfrm>
              <a:off x="-2426585" y="2628405"/>
              <a:ext cx="763000" cy="252000"/>
            </a:xfrm>
            <a:prstGeom prst="rect">
              <a:avLst/>
            </a:prstGeom>
            <a:solidFill>
              <a:srgbClr val="00338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 / 51 / 141</a:t>
              </a:r>
            </a:p>
          </p:txBody>
        </p:sp>
        <p:sp>
          <p:nvSpPr>
            <p:cNvPr id="64" name="Rectangle 5">
              <a:extLst>
                <a:ext uri="{FF2B5EF4-FFF2-40B4-BE49-F238E27FC236}">
                  <a16:creationId xmlns:a16="http://schemas.microsoft.com/office/drawing/2014/main" id="{9E00DC77-4606-48EF-DA86-448B1153138A}"/>
                </a:ext>
              </a:extLst>
            </p:cNvPr>
            <p:cNvSpPr/>
            <p:nvPr/>
          </p:nvSpPr>
          <p:spPr>
            <a:xfrm>
              <a:off x="-2426585" y="3132121"/>
              <a:ext cx="763000" cy="252000"/>
            </a:xfrm>
            <a:prstGeom prst="rect">
              <a:avLst/>
            </a:prstGeom>
            <a:solidFill>
              <a:srgbClr val="0C233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 / 35 / 60</a:t>
              </a:r>
            </a:p>
          </p:txBody>
        </p:sp>
        <p:sp>
          <p:nvSpPr>
            <p:cNvPr id="65" name="Rectangle 6">
              <a:extLst>
                <a:ext uri="{FF2B5EF4-FFF2-40B4-BE49-F238E27FC236}">
                  <a16:creationId xmlns:a16="http://schemas.microsoft.com/office/drawing/2014/main" id="{FF766E29-F407-D7DE-05F3-B98579F0388A}"/>
                </a:ext>
              </a:extLst>
            </p:cNvPr>
            <p:cNvSpPr/>
            <p:nvPr/>
          </p:nvSpPr>
          <p:spPr>
            <a:xfrm>
              <a:off x="-2426585" y="3383979"/>
              <a:ext cx="763000" cy="252000"/>
            </a:xfrm>
            <a:prstGeom prst="rect">
              <a:avLst/>
            </a:prstGeom>
            <a:solidFill>
              <a:srgbClr val="ACEA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72 / 234 / 255</a:t>
              </a:r>
            </a:p>
          </p:txBody>
        </p:sp>
        <p:sp>
          <p:nvSpPr>
            <p:cNvPr id="66" name="Rectangle 19">
              <a:extLst>
                <a:ext uri="{FF2B5EF4-FFF2-40B4-BE49-F238E27FC236}">
                  <a16:creationId xmlns:a16="http://schemas.microsoft.com/office/drawing/2014/main" id="{BC5512C6-72A4-5DC0-8A27-A84FCFDB591D}"/>
                </a:ext>
              </a:extLst>
            </p:cNvPr>
            <p:cNvSpPr/>
            <p:nvPr/>
          </p:nvSpPr>
          <p:spPr>
            <a:xfrm>
              <a:off x="-2426585" y="3635837"/>
              <a:ext cx="763000" cy="252000"/>
            </a:xfrm>
            <a:prstGeom prst="rect">
              <a:avLst/>
            </a:prstGeom>
            <a:solidFill>
              <a:srgbClr val="00B8F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 / 184 / 245</a:t>
              </a:r>
            </a:p>
          </p:txBody>
        </p:sp>
        <p:sp>
          <p:nvSpPr>
            <p:cNvPr id="67" name="Rectangle 20">
              <a:extLst>
                <a:ext uri="{FF2B5EF4-FFF2-40B4-BE49-F238E27FC236}">
                  <a16:creationId xmlns:a16="http://schemas.microsoft.com/office/drawing/2014/main" id="{DBA9F24C-0122-76F5-02B1-C93A07DAD502}"/>
                </a:ext>
              </a:extLst>
            </p:cNvPr>
            <p:cNvSpPr/>
            <p:nvPr/>
          </p:nvSpPr>
          <p:spPr>
            <a:xfrm>
              <a:off x="-2426585" y="3887695"/>
              <a:ext cx="763000" cy="252000"/>
            </a:xfrm>
            <a:prstGeom prst="rect">
              <a:avLst/>
            </a:prstGeom>
            <a:solidFill>
              <a:srgbClr val="7213E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14 / 19 / 234</a:t>
              </a:r>
            </a:p>
          </p:txBody>
        </p:sp>
        <p:sp>
          <p:nvSpPr>
            <p:cNvPr id="68" name="Rectangle 21">
              <a:extLst>
                <a:ext uri="{FF2B5EF4-FFF2-40B4-BE49-F238E27FC236}">
                  <a16:creationId xmlns:a16="http://schemas.microsoft.com/office/drawing/2014/main" id="{E5F2328D-E94E-2E5E-4330-7AF7D6D68ECD}"/>
                </a:ext>
              </a:extLst>
            </p:cNvPr>
            <p:cNvSpPr/>
            <p:nvPr/>
          </p:nvSpPr>
          <p:spPr>
            <a:xfrm>
              <a:off x="-2426585" y="4139552"/>
              <a:ext cx="763000" cy="252000"/>
            </a:xfrm>
            <a:prstGeom prst="rect">
              <a:avLst/>
            </a:prstGeom>
            <a:solidFill>
              <a:srgbClr val="FD349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53 / 52 / 156</a:t>
              </a:r>
            </a:p>
          </p:txBody>
        </p:sp>
        <p:sp>
          <p:nvSpPr>
            <p:cNvPr id="69" name="Rectangle 3">
              <a:extLst>
                <a:ext uri="{FF2B5EF4-FFF2-40B4-BE49-F238E27FC236}">
                  <a16:creationId xmlns:a16="http://schemas.microsoft.com/office/drawing/2014/main" id="{C0B13E81-7CBB-3C62-A041-E044FACF8D21}"/>
                </a:ext>
              </a:extLst>
            </p:cNvPr>
            <p:cNvSpPr/>
            <p:nvPr/>
          </p:nvSpPr>
          <p:spPr>
            <a:xfrm>
              <a:off x="-1667383" y="2880263"/>
              <a:ext cx="252000" cy="252000"/>
            </a:xfrm>
            <a:prstGeom prst="rect">
              <a:avLst/>
            </a:prstGeom>
            <a:solidFill>
              <a:srgbClr val="4B6D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Rectangle 4">
              <a:extLst>
                <a:ext uri="{FF2B5EF4-FFF2-40B4-BE49-F238E27FC236}">
                  <a16:creationId xmlns:a16="http://schemas.microsoft.com/office/drawing/2014/main" id="{2CE828F6-8DDB-1FBE-5692-A31ECD63C41E}"/>
                </a:ext>
              </a:extLst>
            </p:cNvPr>
            <p:cNvSpPr/>
            <p:nvPr/>
          </p:nvSpPr>
          <p:spPr>
            <a:xfrm>
              <a:off x="-1667383" y="2628405"/>
              <a:ext cx="252000" cy="252000"/>
            </a:xfrm>
            <a:prstGeom prst="rect">
              <a:avLst/>
            </a:prstGeom>
            <a:solidFill>
              <a:srgbClr val="335CA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Rectangle 5">
              <a:extLst>
                <a:ext uri="{FF2B5EF4-FFF2-40B4-BE49-F238E27FC236}">
                  <a16:creationId xmlns:a16="http://schemas.microsoft.com/office/drawing/2014/main" id="{E5601BCA-5DD9-1E79-97A1-DFB4785F8988}"/>
                </a:ext>
              </a:extLst>
            </p:cNvPr>
            <p:cNvSpPr/>
            <p:nvPr/>
          </p:nvSpPr>
          <p:spPr>
            <a:xfrm>
              <a:off x="-1667383" y="3132121"/>
              <a:ext cx="252000" cy="252000"/>
            </a:xfrm>
            <a:prstGeom prst="rect">
              <a:avLst/>
            </a:prstGeom>
            <a:solidFill>
              <a:srgbClr val="3D4F6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Rectangle 6">
              <a:extLst>
                <a:ext uri="{FF2B5EF4-FFF2-40B4-BE49-F238E27FC236}">
                  <a16:creationId xmlns:a16="http://schemas.microsoft.com/office/drawing/2014/main" id="{966CDC9D-A98D-EB59-DF78-D46D81949748}"/>
                </a:ext>
              </a:extLst>
            </p:cNvPr>
            <p:cNvSpPr/>
            <p:nvPr/>
          </p:nvSpPr>
          <p:spPr>
            <a:xfrm>
              <a:off x="-1667383" y="3383979"/>
              <a:ext cx="252000" cy="252000"/>
            </a:xfrm>
            <a:prstGeom prst="rect">
              <a:avLst/>
            </a:prstGeom>
            <a:solidFill>
              <a:srgbClr val="BDEE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Rectangle 19">
              <a:extLst>
                <a:ext uri="{FF2B5EF4-FFF2-40B4-BE49-F238E27FC236}">
                  <a16:creationId xmlns:a16="http://schemas.microsoft.com/office/drawing/2014/main" id="{8615B0CA-5F2F-09F9-DE81-3DE343C67F33}"/>
                </a:ext>
              </a:extLst>
            </p:cNvPr>
            <p:cNvSpPr/>
            <p:nvPr/>
          </p:nvSpPr>
          <p:spPr>
            <a:xfrm>
              <a:off x="-1667383" y="3635837"/>
              <a:ext cx="252000" cy="252000"/>
            </a:xfrm>
            <a:prstGeom prst="rect">
              <a:avLst/>
            </a:prstGeom>
            <a:solidFill>
              <a:srgbClr val="33C6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Rectangle 20">
              <a:extLst>
                <a:ext uri="{FF2B5EF4-FFF2-40B4-BE49-F238E27FC236}">
                  <a16:creationId xmlns:a16="http://schemas.microsoft.com/office/drawing/2014/main" id="{3D5FF7B5-94B5-53A3-54D5-4F6B66C6A3F6}"/>
                </a:ext>
              </a:extLst>
            </p:cNvPr>
            <p:cNvSpPr/>
            <p:nvPr/>
          </p:nvSpPr>
          <p:spPr>
            <a:xfrm>
              <a:off x="-1667383" y="3887695"/>
              <a:ext cx="252000" cy="252000"/>
            </a:xfrm>
            <a:prstGeom prst="rect">
              <a:avLst/>
            </a:prstGeom>
            <a:solidFill>
              <a:srgbClr val="8E42E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Rectangle 21">
              <a:extLst>
                <a:ext uri="{FF2B5EF4-FFF2-40B4-BE49-F238E27FC236}">
                  <a16:creationId xmlns:a16="http://schemas.microsoft.com/office/drawing/2014/main" id="{5F752772-D3C5-E37E-5E52-64E765A92D71}"/>
                </a:ext>
              </a:extLst>
            </p:cNvPr>
            <p:cNvSpPr/>
            <p:nvPr/>
          </p:nvSpPr>
          <p:spPr>
            <a:xfrm>
              <a:off x="-1667383" y="4139552"/>
              <a:ext cx="252000" cy="252000"/>
            </a:xfrm>
            <a:prstGeom prst="rect">
              <a:avLst/>
            </a:prstGeom>
            <a:solidFill>
              <a:srgbClr val="FD5DB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Rectangle 3">
              <a:extLst>
                <a:ext uri="{FF2B5EF4-FFF2-40B4-BE49-F238E27FC236}">
                  <a16:creationId xmlns:a16="http://schemas.microsoft.com/office/drawing/2014/main" id="{BB1AD629-BF7D-EA7D-E7A0-F5C4263A0326}"/>
                </a:ext>
              </a:extLst>
            </p:cNvPr>
            <p:cNvSpPr/>
            <p:nvPr/>
          </p:nvSpPr>
          <p:spPr>
            <a:xfrm>
              <a:off x="-1415383" y="2880263"/>
              <a:ext cx="252000" cy="252000"/>
            </a:xfrm>
            <a:prstGeom prst="rect">
              <a:avLst/>
            </a:prstGeom>
            <a:solidFill>
              <a:srgbClr val="7892E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Rectangle 4">
              <a:extLst>
                <a:ext uri="{FF2B5EF4-FFF2-40B4-BE49-F238E27FC236}">
                  <a16:creationId xmlns:a16="http://schemas.microsoft.com/office/drawing/2014/main" id="{F2C28C13-F341-9C22-0CB3-2189A32AFAFC}"/>
                </a:ext>
              </a:extLst>
            </p:cNvPr>
            <p:cNvSpPr/>
            <p:nvPr/>
          </p:nvSpPr>
          <p:spPr>
            <a:xfrm>
              <a:off x="-1415383" y="2628405"/>
              <a:ext cx="252000" cy="252000"/>
            </a:xfrm>
            <a:prstGeom prst="rect">
              <a:avLst/>
            </a:prstGeom>
            <a:solidFill>
              <a:srgbClr val="6685B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Rectangle 5">
              <a:extLst>
                <a:ext uri="{FF2B5EF4-FFF2-40B4-BE49-F238E27FC236}">
                  <a16:creationId xmlns:a16="http://schemas.microsoft.com/office/drawing/2014/main" id="{6EA3B44C-2594-0FC2-CE7E-EC2A79109200}"/>
                </a:ext>
              </a:extLst>
            </p:cNvPr>
            <p:cNvSpPr/>
            <p:nvPr/>
          </p:nvSpPr>
          <p:spPr>
            <a:xfrm>
              <a:off x="-1415383" y="3132121"/>
              <a:ext cx="252000" cy="252000"/>
            </a:xfrm>
            <a:prstGeom prst="rect">
              <a:avLst/>
            </a:prstGeom>
            <a:solidFill>
              <a:srgbClr val="6D7B8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Rectangle 6">
              <a:extLst>
                <a:ext uri="{FF2B5EF4-FFF2-40B4-BE49-F238E27FC236}">
                  <a16:creationId xmlns:a16="http://schemas.microsoft.com/office/drawing/2014/main" id="{02809DBD-5A81-02B5-32D2-CC7F2A78E28A}"/>
                </a:ext>
              </a:extLst>
            </p:cNvPr>
            <p:cNvSpPr/>
            <p:nvPr/>
          </p:nvSpPr>
          <p:spPr>
            <a:xfrm>
              <a:off x="-1415383" y="3383979"/>
              <a:ext cx="252000" cy="252000"/>
            </a:xfrm>
            <a:prstGeom prst="rect">
              <a:avLst/>
            </a:prstGeom>
            <a:solidFill>
              <a:srgbClr val="CDF2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Rectangle 19">
              <a:extLst>
                <a:ext uri="{FF2B5EF4-FFF2-40B4-BE49-F238E27FC236}">
                  <a16:creationId xmlns:a16="http://schemas.microsoft.com/office/drawing/2014/main" id="{626E414B-B04E-F6FE-00A9-DA4CA43DCE67}"/>
                </a:ext>
              </a:extLst>
            </p:cNvPr>
            <p:cNvSpPr/>
            <p:nvPr/>
          </p:nvSpPr>
          <p:spPr>
            <a:xfrm>
              <a:off x="-1415383" y="3635837"/>
              <a:ext cx="252000" cy="252000"/>
            </a:xfrm>
            <a:prstGeom prst="rect">
              <a:avLst/>
            </a:prstGeom>
            <a:solidFill>
              <a:srgbClr val="66D4F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Rectangle 20">
              <a:extLst>
                <a:ext uri="{FF2B5EF4-FFF2-40B4-BE49-F238E27FC236}">
                  <a16:creationId xmlns:a16="http://schemas.microsoft.com/office/drawing/2014/main" id="{8443709A-12E8-6E06-5FF9-A14642F65EDE}"/>
                </a:ext>
              </a:extLst>
            </p:cNvPr>
            <p:cNvSpPr/>
            <p:nvPr/>
          </p:nvSpPr>
          <p:spPr>
            <a:xfrm>
              <a:off x="-1415383" y="3887695"/>
              <a:ext cx="252000" cy="252000"/>
            </a:xfrm>
            <a:prstGeom prst="rect">
              <a:avLst/>
            </a:prstGeom>
            <a:solidFill>
              <a:srgbClr val="AA71F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Rectangle 21">
              <a:extLst>
                <a:ext uri="{FF2B5EF4-FFF2-40B4-BE49-F238E27FC236}">
                  <a16:creationId xmlns:a16="http://schemas.microsoft.com/office/drawing/2014/main" id="{3D90B438-EF15-CB0F-5D1E-D11EC0DAC02C}"/>
                </a:ext>
              </a:extLst>
            </p:cNvPr>
            <p:cNvSpPr/>
            <p:nvPr/>
          </p:nvSpPr>
          <p:spPr>
            <a:xfrm>
              <a:off x="-1415383" y="4139552"/>
              <a:ext cx="252000" cy="252000"/>
            </a:xfrm>
            <a:prstGeom prst="rect">
              <a:avLst/>
            </a:prstGeom>
            <a:solidFill>
              <a:srgbClr val="FE85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Rectangle 3">
              <a:extLst>
                <a:ext uri="{FF2B5EF4-FFF2-40B4-BE49-F238E27FC236}">
                  <a16:creationId xmlns:a16="http://schemas.microsoft.com/office/drawing/2014/main" id="{C2E0A445-025E-37CD-7EE6-05D3B742FD01}"/>
                </a:ext>
              </a:extLst>
            </p:cNvPr>
            <p:cNvSpPr/>
            <p:nvPr/>
          </p:nvSpPr>
          <p:spPr>
            <a:xfrm>
              <a:off x="-1166305" y="2880263"/>
              <a:ext cx="252000" cy="252000"/>
            </a:xfrm>
            <a:prstGeom prst="rect">
              <a:avLst/>
            </a:prstGeom>
            <a:solidFill>
              <a:srgbClr val="A5B6F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Rectangle 4">
              <a:extLst>
                <a:ext uri="{FF2B5EF4-FFF2-40B4-BE49-F238E27FC236}">
                  <a16:creationId xmlns:a16="http://schemas.microsoft.com/office/drawing/2014/main" id="{AEA4BF2E-90D5-79BE-17B4-84B2332BE84C}"/>
                </a:ext>
              </a:extLst>
            </p:cNvPr>
            <p:cNvSpPr/>
            <p:nvPr/>
          </p:nvSpPr>
          <p:spPr>
            <a:xfrm>
              <a:off x="-1166305" y="2628405"/>
              <a:ext cx="252000" cy="252000"/>
            </a:xfrm>
            <a:prstGeom prst="rect">
              <a:avLst/>
            </a:prstGeom>
            <a:solidFill>
              <a:srgbClr val="99ADD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Rectangle 5">
              <a:extLst>
                <a:ext uri="{FF2B5EF4-FFF2-40B4-BE49-F238E27FC236}">
                  <a16:creationId xmlns:a16="http://schemas.microsoft.com/office/drawing/2014/main" id="{ED8E6B07-853C-5DEB-B080-16C5A0BAE9E6}"/>
                </a:ext>
              </a:extLst>
            </p:cNvPr>
            <p:cNvSpPr/>
            <p:nvPr/>
          </p:nvSpPr>
          <p:spPr>
            <a:xfrm>
              <a:off x="-1166305" y="3132121"/>
              <a:ext cx="252000" cy="252000"/>
            </a:xfrm>
            <a:prstGeom prst="rect">
              <a:avLst/>
            </a:prstGeom>
            <a:solidFill>
              <a:srgbClr val="9EA7B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Rectangle 6">
              <a:extLst>
                <a:ext uri="{FF2B5EF4-FFF2-40B4-BE49-F238E27FC236}">
                  <a16:creationId xmlns:a16="http://schemas.microsoft.com/office/drawing/2014/main" id="{0AE985A0-449C-F37D-07DF-F42973EA3607}"/>
                </a:ext>
              </a:extLst>
            </p:cNvPr>
            <p:cNvSpPr/>
            <p:nvPr/>
          </p:nvSpPr>
          <p:spPr>
            <a:xfrm>
              <a:off x="-1166305" y="3383979"/>
              <a:ext cx="252000" cy="252000"/>
            </a:xfrm>
            <a:prstGeom prst="rect">
              <a:avLst/>
            </a:prstGeom>
            <a:solidFill>
              <a:srgbClr val="DEF7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Rectangle 19">
              <a:extLst>
                <a:ext uri="{FF2B5EF4-FFF2-40B4-BE49-F238E27FC236}">
                  <a16:creationId xmlns:a16="http://schemas.microsoft.com/office/drawing/2014/main" id="{0E529107-DD68-E0B6-6105-EB60EDC4E518}"/>
                </a:ext>
              </a:extLst>
            </p:cNvPr>
            <p:cNvSpPr/>
            <p:nvPr/>
          </p:nvSpPr>
          <p:spPr>
            <a:xfrm>
              <a:off x="-1166305" y="3635837"/>
              <a:ext cx="252000" cy="252000"/>
            </a:xfrm>
            <a:prstGeom prst="rect">
              <a:avLst/>
            </a:prstGeom>
            <a:solidFill>
              <a:srgbClr val="99E3F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Rectangle 20">
              <a:extLst>
                <a:ext uri="{FF2B5EF4-FFF2-40B4-BE49-F238E27FC236}">
                  <a16:creationId xmlns:a16="http://schemas.microsoft.com/office/drawing/2014/main" id="{CCAF6F7F-7498-4A49-25C1-54FF1B862DED}"/>
                </a:ext>
              </a:extLst>
            </p:cNvPr>
            <p:cNvSpPr/>
            <p:nvPr/>
          </p:nvSpPr>
          <p:spPr>
            <a:xfrm>
              <a:off x="-1166305" y="3887695"/>
              <a:ext cx="252000" cy="252000"/>
            </a:xfrm>
            <a:prstGeom prst="rect">
              <a:avLst/>
            </a:prstGeom>
            <a:solidFill>
              <a:srgbClr val="C7A1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Rectangle 21">
              <a:extLst>
                <a:ext uri="{FF2B5EF4-FFF2-40B4-BE49-F238E27FC236}">
                  <a16:creationId xmlns:a16="http://schemas.microsoft.com/office/drawing/2014/main" id="{7FDFF97A-5287-8659-D574-02439EF4A9C1}"/>
                </a:ext>
              </a:extLst>
            </p:cNvPr>
            <p:cNvSpPr/>
            <p:nvPr/>
          </p:nvSpPr>
          <p:spPr>
            <a:xfrm>
              <a:off x="-1166305" y="4139552"/>
              <a:ext cx="252000" cy="252000"/>
            </a:xfrm>
            <a:prstGeom prst="rect">
              <a:avLst/>
            </a:prstGeom>
            <a:solidFill>
              <a:srgbClr val="FEAED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Rectangle 3">
              <a:extLst>
                <a:ext uri="{FF2B5EF4-FFF2-40B4-BE49-F238E27FC236}">
                  <a16:creationId xmlns:a16="http://schemas.microsoft.com/office/drawing/2014/main" id="{C11830B8-E550-9F8C-2DBA-40223C7117AE}"/>
                </a:ext>
              </a:extLst>
            </p:cNvPr>
            <p:cNvSpPr/>
            <p:nvPr/>
          </p:nvSpPr>
          <p:spPr>
            <a:xfrm>
              <a:off x="-914806" y="2880121"/>
              <a:ext cx="252000" cy="252000"/>
            </a:xfrm>
            <a:prstGeom prst="rect">
              <a:avLst/>
            </a:prstGeom>
            <a:solidFill>
              <a:srgbClr val="D2DBF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Rectangle 4">
              <a:extLst>
                <a:ext uri="{FF2B5EF4-FFF2-40B4-BE49-F238E27FC236}">
                  <a16:creationId xmlns:a16="http://schemas.microsoft.com/office/drawing/2014/main" id="{75A22EE4-B559-C2FC-4F39-2B20ABAE3AA1}"/>
                </a:ext>
              </a:extLst>
            </p:cNvPr>
            <p:cNvSpPr/>
            <p:nvPr/>
          </p:nvSpPr>
          <p:spPr>
            <a:xfrm>
              <a:off x="-914806" y="2628263"/>
              <a:ext cx="252000" cy="252000"/>
            </a:xfrm>
            <a:prstGeom prst="rect">
              <a:avLst/>
            </a:prstGeom>
            <a:solidFill>
              <a:srgbClr val="CCD6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Rectangle 5">
              <a:extLst>
                <a:ext uri="{FF2B5EF4-FFF2-40B4-BE49-F238E27FC236}">
                  <a16:creationId xmlns:a16="http://schemas.microsoft.com/office/drawing/2014/main" id="{F0E7A605-C727-932B-C8D3-B022A30DFE79}"/>
                </a:ext>
              </a:extLst>
            </p:cNvPr>
            <p:cNvSpPr/>
            <p:nvPr/>
          </p:nvSpPr>
          <p:spPr>
            <a:xfrm>
              <a:off x="-914806" y="3131979"/>
              <a:ext cx="252000" cy="252000"/>
            </a:xfrm>
            <a:prstGeom prst="rect">
              <a:avLst/>
            </a:prstGeom>
            <a:solidFill>
              <a:srgbClr val="CED3D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Rectangle 6">
              <a:extLst>
                <a:ext uri="{FF2B5EF4-FFF2-40B4-BE49-F238E27FC236}">
                  <a16:creationId xmlns:a16="http://schemas.microsoft.com/office/drawing/2014/main" id="{579F3A24-8631-2B2D-BBB2-D237DD0E6C48}"/>
                </a:ext>
              </a:extLst>
            </p:cNvPr>
            <p:cNvSpPr/>
            <p:nvPr/>
          </p:nvSpPr>
          <p:spPr>
            <a:xfrm>
              <a:off x="-914806" y="3383837"/>
              <a:ext cx="252000" cy="252000"/>
            </a:xfrm>
            <a:prstGeom prst="rect">
              <a:avLst/>
            </a:prstGeom>
            <a:solidFill>
              <a:srgbClr val="EEFB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Rectangle 19">
              <a:extLst>
                <a:ext uri="{FF2B5EF4-FFF2-40B4-BE49-F238E27FC236}">
                  <a16:creationId xmlns:a16="http://schemas.microsoft.com/office/drawing/2014/main" id="{E8896F1C-790E-DB63-61AC-00C9F222F60F}"/>
                </a:ext>
              </a:extLst>
            </p:cNvPr>
            <p:cNvSpPr/>
            <p:nvPr/>
          </p:nvSpPr>
          <p:spPr>
            <a:xfrm>
              <a:off x="-914806" y="3635695"/>
              <a:ext cx="252000" cy="252000"/>
            </a:xfrm>
            <a:prstGeom prst="rect">
              <a:avLst/>
            </a:prstGeom>
            <a:solidFill>
              <a:srgbClr val="CCF1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Rectangle 20">
              <a:extLst>
                <a:ext uri="{FF2B5EF4-FFF2-40B4-BE49-F238E27FC236}">
                  <a16:creationId xmlns:a16="http://schemas.microsoft.com/office/drawing/2014/main" id="{6A8FBA7B-2A3A-DAAC-08A1-C93712ACD1B4}"/>
                </a:ext>
              </a:extLst>
            </p:cNvPr>
            <p:cNvSpPr/>
            <p:nvPr/>
          </p:nvSpPr>
          <p:spPr>
            <a:xfrm>
              <a:off x="-914806" y="3887553"/>
              <a:ext cx="252000" cy="252000"/>
            </a:xfrm>
            <a:prstGeom prst="rect">
              <a:avLst/>
            </a:prstGeom>
            <a:solidFill>
              <a:srgbClr val="E3D0F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Rectangle 21">
              <a:extLst>
                <a:ext uri="{FF2B5EF4-FFF2-40B4-BE49-F238E27FC236}">
                  <a16:creationId xmlns:a16="http://schemas.microsoft.com/office/drawing/2014/main" id="{E659D67B-A2E6-5EB1-890A-B5800399872A}"/>
                </a:ext>
              </a:extLst>
            </p:cNvPr>
            <p:cNvSpPr/>
            <p:nvPr/>
          </p:nvSpPr>
          <p:spPr>
            <a:xfrm>
              <a:off x="-914806" y="4139410"/>
              <a:ext cx="252000" cy="252000"/>
            </a:xfrm>
            <a:prstGeom prst="rect">
              <a:avLst/>
            </a:prstGeom>
            <a:solidFill>
              <a:srgbClr val="FFD6E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7" name="TextBox 96">
            <a:extLst>
              <a:ext uri="{FF2B5EF4-FFF2-40B4-BE49-F238E27FC236}">
                <a16:creationId xmlns:a16="http://schemas.microsoft.com/office/drawing/2014/main" id="{F33DF9DE-4F86-4854-7D43-1908EB105C9C}"/>
              </a:ext>
            </a:extLst>
          </p:cNvPr>
          <p:cNvSpPr txBox="1"/>
          <p:nvPr userDrawn="1"/>
        </p:nvSpPr>
        <p:spPr>
          <a:xfrm>
            <a:off x="360000" y="430733"/>
            <a:ext cx="1769450" cy="257369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 rtlCol="0" anchor="ctr">
            <a:spAutoFit/>
          </a:bodyPr>
          <a:lstStyle/>
          <a:p>
            <a:pPr algn="dist"/>
            <a:r>
              <a:rPr lang="en-US" altLang="ko-KR" sz="1200" b="0" spc="338" baseline="0" dirty="0">
                <a:solidFill>
                  <a:srgbClr val="4E4F50"/>
                </a:solidFill>
                <a:latin typeface="Outfit SemiBold" pitchFamily="2" charset="0"/>
                <a:ea typeface="나눔스퀘어 네오 Bold" panose="00000800000000000000" pitchFamily="2" charset="-127"/>
                <a:cs typeface="TT Commons Pro Bold"/>
                <a:sym typeface="TT Commons Pro Bold"/>
              </a:rPr>
              <a:t>INTRODUCTION</a:t>
            </a:r>
            <a:endParaRPr lang="ko-KR" altLang="en-US" sz="1200" b="0" baseline="0" dirty="0">
              <a:solidFill>
                <a:srgbClr val="4E4F50"/>
              </a:solidFill>
              <a:latin typeface="Outfit SemiBold" pitchFamily="2" charset="0"/>
              <a:ea typeface="나눔스퀘어 네오 Bold" panose="00000800000000000000" pitchFamily="2" charset="-127"/>
              <a:cs typeface="Univers for KPMG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BBA2731D-9D16-F078-1FEE-2A2B3DCEE0AA}"/>
              </a:ext>
            </a:extLst>
          </p:cNvPr>
          <p:cNvSpPr txBox="1"/>
          <p:nvPr userDrawn="1"/>
        </p:nvSpPr>
        <p:spPr>
          <a:xfrm>
            <a:off x="1264385" y="2014052"/>
            <a:ext cx="3015817" cy="176272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7000"/>
              </a:lnSpc>
            </a:pPr>
            <a:r>
              <a:rPr lang="ko-KR" altLang="en-US" sz="5400" b="0" spc="-400" dirty="0" err="1">
                <a:solidFill>
                  <a:srgbClr val="4E4F50"/>
                </a:solidFill>
                <a:latin typeface="나눔스퀘어 네오 ExtraBold" panose="00000900000000000000" pitchFamily="2" charset="-127"/>
                <a:ea typeface="나눔스퀘어 네오 ExtraBold" panose="00000900000000000000" pitchFamily="2" charset="-127"/>
                <a:cs typeface="Tlab 레트로라이프"/>
                <a:sym typeface="Tlab 레트로라이프"/>
              </a:rPr>
              <a:t>뱅가드랩</a:t>
            </a:r>
            <a:r>
              <a:rPr lang="en-US" altLang="ko-KR" sz="5400" b="0" spc="-400" dirty="0">
                <a:solidFill>
                  <a:srgbClr val="4E4F50"/>
                </a:solidFill>
                <a:latin typeface="나눔스퀘어 네오 ExtraBold" panose="00000900000000000000" pitchFamily="2" charset="-127"/>
                <a:ea typeface="나눔스퀘어 네오 ExtraBold" panose="00000900000000000000" pitchFamily="2" charset="-127"/>
                <a:cs typeface="Tlab 레트로라이프"/>
                <a:sym typeface="Tlab 레트로라이프"/>
              </a:rPr>
              <a:t> </a:t>
            </a:r>
          </a:p>
          <a:p>
            <a:pPr algn="l">
              <a:lnSpc>
                <a:spcPts val="7000"/>
              </a:lnSpc>
            </a:pPr>
            <a:r>
              <a:rPr lang="ko-KR" altLang="en-US" sz="5400" b="0" spc="-400" dirty="0">
                <a:solidFill>
                  <a:srgbClr val="4E4F50"/>
                </a:solidFill>
                <a:latin typeface="나눔스퀘어 네오 ExtraBold" panose="00000900000000000000" pitchFamily="2" charset="-127"/>
                <a:ea typeface="나눔스퀘어 네오 ExtraBold" panose="00000900000000000000" pitchFamily="2" charset="-127"/>
                <a:cs typeface="Tlab 레트로라이프"/>
                <a:sym typeface="Tlab 레트로라이프"/>
              </a:rPr>
              <a:t>회사소개서</a:t>
            </a:r>
            <a:endParaRPr lang="en-US" altLang="ko-KR" sz="5400" b="0" spc="-400" dirty="0">
              <a:solidFill>
                <a:srgbClr val="4E4F50"/>
              </a:solidFill>
              <a:latin typeface="나눔스퀘어 네오 ExtraBold" panose="00000900000000000000" pitchFamily="2" charset="-127"/>
              <a:ea typeface="나눔스퀘어 네오 ExtraBold" panose="00000900000000000000" pitchFamily="2" charset="-127"/>
              <a:cs typeface="Tlab 레트로라이프"/>
              <a:sym typeface="Tlab 레트로라이프"/>
            </a:endParaRPr>
          </a:p>
        </p:txBody>
      </p:sp>
      <p:cxnSp>
        <p:nvCxnSpPr>
          <p:cNvPr id="99" name="직선 연결선 98">
            <a:extLst>
              <a:ext uri="{FF2B5EF4-FFF2-40B4-BE49-F238E27FC236}">
                <a16:creationId xmlns:a16="http://schemas.microsoft.com/office/drawing/2014/main" id="{0261EBA7-32D8-9196-02D5-EFAC9261739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24075" y="592688"/>
            <a:ext cx="7920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4E4F5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0" name="TextBox 8">
            <a:extLst>
              <a:ext uri="{FF2B5EF4-FFF2-40B4-BE49-F238E27FC236}">
                <a16:creationId xmlns:a16="http://schemas.microsoft.com/office/drawing/2014/main" id="{918891A1-E9D0-E779-ADE6-13179345215A}"/>
              </a:ext>
            </a:extLst>
          </p:cNvPr>
          <p:cNvSpPr txBox="1"/>
          <p:nvPr userDrawn="1"/>
        </p:nvSpPr>
        <p:spPr>
          <a:xfrm>
            <a:off x="1264385" y="3880009"/>
            <a:ext cx="4026943" cy="19114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1642"/>
              </a:lnSpc>
            </a:pPr>
            <a:r>
              <a:rPr lang="en-US" sz="1173" b="0" spc="117" dirty="0">
                <a:solidFill>
                  <a:srgbClr val="4E4F50"/>
                </a:solidFill>
                <a:latin typeface="Outfit" pitchFamily="2" charset="0"/>
                <a:ea typeface="Public Sans"/>
                <a:cs typeface="Public Sans"/>
                <a:sym typeface="Public Sans"/>
              </a:rPr>
              <a:t>SIMPLE COMPANY PRESENTATION</a:t>
            </a:r>
          </a:p>
        </p:txBody>
      </p:sp>
      <p:sp>
        <p:nvSpPr>
          <p:cNvPr id="101" name="TextBox 4">
            <a:extLst>
              <a:ext uri="{FF2B5EF4-FFF2-40B4-BE49-F238E27FC236}">
                <a16:creationId xmlns:a16="http://schemas.microsoft.com/office/drawing/2014/main" id="{148A67DD-E56F-0A91-8A5F-5D3E18A8A9E0}"/>
              </a:ext>
            </a:extLst>
          </p:cNvPr>
          <p:cNvSpPr txBox="1"/>
          <p:nvPr userDrawn="1"/>
        </p:nvSpPr>
        <p:spPr>
          <a:xfrm>
            <a:off x="1540476" y="1436657"/>
            <a:ext cx="2952000" cy="4414561"/>
          </a:xfrm>
          <a:prstGeom prst="rect">
            <a:avLst/>
          </a:prstGeom>
        </p:spPr>
        <p:txBody>
          <a:bodyPr lIns="27093" tIns="27093" rIns="27093" bIns="27093" rtlCol="0" anchor="ctr"/>
          <a:lstStyle/>
          <a:p>
            <a:pPr algn="ctr">
              <a:lnSpc>
                <a:spcPts val="1493"/>
              </a:lnSpc>
            </a:pPr>
            <a:endParaRPr/>
          </a:p>
        </p:txBody>
      </p:sp>
      <p:pic>
        <p:nvPicPr>
          <p:cNvPr id="102" name="그림 101">
            <a:extLst>
              <a:ext uri="{FF2B5EF4-FFF2-40B4-BE49-F238E27FC236}">
                <a16:creationId xmlns:a16="http://schemas.microsoft.com/office/drawing/2014/main" id="{64096612-2ACD-809B-B846-51D36CD27F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3539" y="6535806"/>
            <a:ext cx="1210668" cy="221285"/>
          </a:xfrm>
          <a:prstGeom prst="rect">
            <a:avLst/>
          </a:prstGeom>
        </p:spPr>
      </p:pic>
      <p:grpSp>
        <p:nvGrpSpPr>
          <p:cNvPr id="103" name="그룹 102">
            <a:extLst>
              <a:ext uri="{FF2B5EF4-FFF2-40B4-BE49-F238E27FC236}">
                <a16:creationId xmlns:a16="http://schemas.microsoft.com/office/drawing/2014/main" id="{F12F4721-08FF-C0F0-169E-E0F3AD19CC5F}"/>
              </a:ext>
            </a:extLst>
          </p:cNvPr>
          <p:cNvGrpSpPr/>
          <p:nvPr userDrawn="1"/>
        </p:nvGrpSpPr>
        <p:grpSpPr>
          <a:xfrm>
            <a:off x="8534231" y="-387424"/>
            <a:ext cx="1098719" cy="252142"/>
            <a:chOff x="8534231" y="-387424"/>
            <a:chExt cx="1098719" cy="252142"/>
          </a:xfrm>
        </p:grpSpPr>
        <p:sp>
          <p:nvSpPr>
            <p:cNvPr id="104" name="Rectangle 4">
              <a:extLst>
                <a:ext uri="{FF2B5EF4-FFF2-40B4-BE49-F238E27FC236}">
                  <a16:creationId xmlns:a16="http://schemas.microsoft.com/office/drawing/2014/main" id="{A7C0FA3E-793D-D724-1932-63B5F85AF879}"/>
                </a:ext>
              </a:extLst>
            </p:cNvPr>
            <p:cNvSpPr/>
            <p:nvPr userDrawn="1"/>
          </p:nvSpPr>
          <p:spPr>
            <a:xfrm>
              <a:off x="8534231" y="-387282"/>
              <a:ext cx="980176" cy="252000"/>
            </a:xfrm>
            <a:prstGeom prst="rect">
              <a:avLst/>
            </a:pr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 / 35 / 60`</a:t>
              </a:r>
            </a:p>
          </p:txBody>
        </p:sp>
        <p:sp>
          <p:nvSpPr>
            <p:cNvPr id="105" name="Rectangle 4">
              <a:extLst>
                <a:ext uri="{FF2B5EF4-FFF2-40B4-BE49-F238E27FC236}">
                  <a16:creationId xmlns:a16="http://schemas.microsoft.com/office/drawing/2014/main" id="{42555127-502C-9E94-9C5A-74BD8B0B7CC7}"/>
                </a:ext>
              </a:extLst>
            </p:cNvPr>
            <p:cNvSpPr/>
            <p:nvPr userDrawn="1"/>
          </p:nvSpPr>
          <p:spPr>
            <a:xfrm>
              <a:off x="9124695" y="-387282"/>
              <a:ext cx="127497" cy="252000"/>
            </a:xfrm>
            <a:prstGeom prst="rect">
              <a:avLst/>
            </a:prstGeom>
            <a:solidFill>
              <a:srgbClr val="4E4F5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Rectangle 4">
              <a:extLst>
                <a:ext uri="{FF2B5EF4-FFF2-40B4-BE49-F238E27FC236}">
                  <a16:creationId xmlns:a16="http://schemas.microsoft.com/office/drawing/2014/main" id="{7FCDFB52-A681-822E-BB52-BD7292F4402A}"/>
                </a:ext>
              </a:extLst>
            </p:cNvPr>
            <p:cNvSpPr/>
            <p:nvPr userDrawn="1"/>
          </p:nvSpPr>
          <p:spPr>
            <a:xfrm>
              <a:off x="9252192" y="-387282"/>
              <a:ext cx="127497" cy="252000"/>
            </a:xfrm>
            <a:prstGeom prst="rect">
              <a:avLst/>
            </a:prstGeom>
            <a:solidFill>
              <a:srgbClr val="E3E4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Rectangle 4">
              <a:extLst>
                <a:ext uri="{FF2B5EF4-FFF2-40B4-BE49-F238E27FC236}">
                  <a16:creationId xmlns:a16="http://schemas.microsoft.com/office/drawing/2014/main" id="{96DDCD51-26CE-DEAE-1996-B1D522A8061C}"/>
                </a:ext>
              </a:extLst>
            </p:cNvPr>
            <p:cNvSpPr/>
            <p:nvPr userDrawn="1"/>
          </p:nvSpPr>
          <p:spPr>
            <a:xfrm>
              <a:off x="9378211" y="-387282"/>
              <a:ext cx="127497" cy="252000"/>
            </a:xfrm>
            <a:prstGeom prst="rect">
              <a:avLst/>
            </a:prstGeom>
            <a:solidFill>
              <a:srgbClr val="F4F4F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Rectangle 4">
              <a:extLst>
                <a:ext uri="{FF2B5EF4-FFF2-40B4-BE49-F238E27FC236}">
                  <a16:creationId xmlns:a16="http://schemas.microsoft.com/office/drawing/2014/main" id="{EF9A22E2-E8CF-A0BD-04DC-39E05B7C4242}"/>
                </a:ext>
              </a:extLst>
            </p:cNvPr>
            <p:cNvSpPr/>
            <p:nvPr userDrawn="1"/>
          </p:nvSpPr>
          <p:spPr>
            <a:xfrm>
              <a:off x="9505453" y="-387424"/>
              <a:ext cx="127497" cy="252000"/>
            </a:xfrm>
            <a:prstGeom prst="rect">
              <a:avLst/>
            </a:prstGeom>
            <a:solidFill>
              <a:srgbClr val="B2DFE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B2DFE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81887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목차">
    <p:bg>
      <p:bgPr>
        <a:solidFill>
          <a:srgbClr val="E3E4E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>
            <a:extLst>
              <a:ext uri="{FF2B5EF4-FFF2-40B4-BE49-F238E27FC236}">
                <a16:creationId xmlns:a16="http://schemas.microsoft.com/office/drawing/2014/main" id="{AB2C787D-3897-83B8-72D3-726AA8454FEF}"/>
              </a:ext>
            </a:extLst>
          </p:cNvPr>
          <p:cNvGrpSpPr/>
          <p:nvPr userDrawn="1"/>
        </p:nvGrpSpPr>
        <p:grpSpPr>
          <a:xfrm>
            <a:off x="-732055" y="202453"/>
            <a:ext cx="651308" cy="6451719"/>
            <a:chOff x="-732055" y="202451"/>
            <a:chExt cx="651308" cy="6451719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2C47BE4-DA83-B070-6C2F-4DEFB5405812}"/>
                </a:ext>
              </a:extLst>
            </p:cNvPr>
            <p:cNvSpPr txBox="1"/>
            <p:nvPr userDrawn="1"/>
          </p:nvSpPr>
          <p:spPr>
            <a:xfrm rot="5400000">
              <a:off x="-869914" y="880479"/>
              <a:ext cx="1451320" cy="1270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dist="12700" dir="5400000" algn="t" rotWithShape="0">
                <a:schemeClr val="tx2"/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GB" sz="700" b="0">
                  <a:solidFill>
                    <a:schemeClr val="tx2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RIMARY </a:t>
              </a:r>
              <a:r>
                <a:rPr lang="ko-KR" altLang="en-US" sz="700" b="0" err="1">
                  <a:solidFill>
                    <a:schemeClr val="tx2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700" b="0">
                  <a:solidFill>
                    <a:schemeClr val="tx2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COLOURS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2705C2A-3189-2C76-48CC-50A24A4D2C12}"/>
                </a:ext>
              </a:extLst>
            </p:cNvPr>
            <p:cNvSpPr txBox="1"/>
            <p:nvPr userDrawn="1"/>
          </p:nvSpPr>
          <p:spPr>
            <a:xfrm rot="5400000">
              <a:off x="-1119140" y="2625061"/>
              <a:ext cx="1949772" cy="1270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dist="12700" dir="5400000" algn="t" rotWithShape="0">
                <a:srgbClr val="483698"/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ECONDARY </a:t>
              </a:r>
              <a:r>
                <a:rPr lang="ko-KR" altLang="en-US" sz="700" b="0" err="1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COLOUR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4A147CA-0E3B-CAD8-D254-50F6CAE0A7A5}"/>
                </a:ext>
              </a:extLst>
            </p:cNvPr>
            <p:cNvSpPr txBox="1"/>
            <p:nvPr userDrawn="1"/>
          </p:nvSpPr>
          <p:spPr>
            <a:xfrm rot="5400000">
              <a:off x="-1617593" y="5117323"/>
              <a:ext cx="2946677" cy="1270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dist="12700" dir="5400000" algn="t" rotWithShape="0">
                <a:srgbClr val="43B02A"/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TERTIARY </a:t>
              </a:r>
              <a:r>
                <a:rPr lang="ko-KR" altLang="en-US" sz="700" b="0" err="1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COLOURS</a:t>
              </a:r>
            </a:p>
          </p:txBody>
        </p:sp>
        <p:sp>
          <p:nvSpPr>
            <p:cNvPr id="11" name="Rectangle 12">
              <a:extLst>
                <a:ext uri="{FF2B5EF4-FFF2-40B4-BE49-F238E27FC236}">
                  <a16:creationId xmlns:a16="http://schemas.microsoft.com/office/drawing/2014/main" id="{F2236B75-D7A8-9B8D-004F-E7E9348DAA9B}"/>
                </a:ext>
              </a:extLst>
            </p:cNvPr>
            <p:cNvSpPr/>
            <p:nvPr userDrawn="1"/>
          </p:nvSpPr>
          <p:spPr>
            <a:xfrm rot="5400000">
              <a:off x="-612940" y="318519"/>
              <a:ext cx="454415" cy="254029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300" dirty="0" err="1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3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Blue</a:t>
              </a:r>
            </a:p>
            <a:p>
              <a:pPr algn="ctr"/>
              <a:r>
                <a:rPr lang="en-GB" sz="3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51 / 141</a:t>
              </a:r>
            </a:p>
          </p:txBody>
        </p:sp>
        <p:sp>
          <p:nvSpPr>
            <p:cNvPr id="12" name="Rectangle 13">
              <a:extLst>
                <a:ext uri="{FF2B5EF4-FFF2-40B4-BE49-F238E27FC236}">
                  <a16:creationId xmlns:a16="http://schemas.microsoft.com/office/drawing/2014/main" id="{25973494-071A-22A5-FF63-60DF4D881B2E}"/>
                </a:ext>
              </a:extLst>
            </p:cNvPr>
            <p:cNvSpPr/>
            <p:nvPr userDrawn="1"/>
          </p:nvSpPr>
          <p:spPr>
            <a:xfrm rot="5400000">
              <a:off x="-612940" y="816972"/>
              <a:ext cx="454415" cy="254029"/>
            </a:xfrm>
            <a:prstGeom prst="rect">
              <a:avLst/>
            </a:prstGeom>
            <a:solidFill>
              <a:srgbClr val="005E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edium Blu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94 / 184</a:t>
              </a:r>
            </a:p>
          </p:txBody>
        </p:sp>
        <p:sp>
          <p:nvSpPr>
            <p:cNvPr id="13" name="Rectangle 14">
              <a:extLst>
                <a:ext uri="{FF2B5EF4-FFF2-40B4-BE49-F238E27FC236}">
                  <a16:creationId xmlns:a16="http://schemas.microsoft.com/office/drawing/2014/main" id="{F6561931-8E2F-BE0E-36D1-C34BA1C544F9}"/>
                </a:ext>
              </a:extLst>
            </p:cNvPr>
            <p:cNvSpPr/>
            <p:nvPr userDrawn="1"/>
          </p:nvSpPr>
          <p:spPr>
            <a:xfrm rot="5400000">
              <a:off x="-612940" y="1315424"/>
              <a:ext cx="454415" cy="25402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ght Blu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145 / 218</a:t>
              </a:r>
            </a:p>
          </p:txBody>
        </p:sp>
        <p:sp>
          <p:nvSpPr>
            <p:cNvPr id="14" name="Rectangle 15">
              <a:extLst>
                <a:ext uri="{FF2B5EF4-FFF2-40B4-BE49-F238E27FC236}">
                  <a16:creationId xmlns:a16="http://schemas.microsoft.com/office/drawing/2014/main" id="{C5F5F191-49FA-3047-C29D-C07ABBBEE356}"/>
                </a:ext>
              </a:extLst>
            </p:cNvPr>
            <p:cNvSpPr/>
            <p:nvPr userDrawn="1"/>
          </p:nvSpPr>
          <p:spPr>
            <a:xfrm rot="5400000">
              <a:off x="-612940" y="1813877"/>
              <a:ext cx="454415" cy="254029"/>
            </a:xfrm>
            <a:prstGeom prst="rect">
              <a:avLst/>
            </a:prstGeom>
            <a:solidFill>
              <a:srgbClr val="4836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Violet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72 / 54 / 152</a:t>
              </a:r>
            </a:p>
          </p:txBody>
        </p:sp>
        <p:sp>
          <p:nvSpPr>
            <p:cNvPr id="15" name="Rectangle 16">
              <a:extLst>
                <a:ext uri="{FF2B5EF4-FFF2-40B4-BE49-F238E27FC236}">
                  <a16:creationId xmlns:a16="http://schemas.microsoft.com/office/drawing/2014/main" id="{6FD11E3D-ED9B-89DA-779C-81DDDA9B9936}"/>
                </a:ext>
              </a:extLst>
            </p:cNvPr>
            <p:cNvSpPr/>
            <p:nvPr userDrawn="1"/>
          </p:nvSpPr>
          <p:spPr>
            <a:xfrm rot="5400000">
              <a:off x="-612940" y="2312329"/>
              <a:ext cx="454415" cy="254029"/>
            </a:xfrm>
            <a:prstGeom prst="rect">
              <a:avLst/>
            </a:prstGeom>
            <a:solidFill>
              <a:srgbClr val="470A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urpl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71 / 10 / 104</a:t>
              </a:r>
            </a:p>
          </p:txBody>
        </p:sp>
        <p:sp>
          <p:nvSpPr>
            <p:cNvPr id="16" name="Rectangle 17">
              <a:extLst>
                <a:ext uri="{FF2B5EF4-FFF2-40B4-BE49-F238E27FC236}">
                  <a16:creationId xmlns:a16="http://schemas.microsoft.com/office/drawing/2014/main" id="{5B57CD78-C04B-6094-5FEB-00A2437000AE}"/>
                </a:ext>
              </a:extLst>
            </p:cNvPr>
            <p:cNvSpPr/>
            <p:nvPr userDrawn="1"/>
          </p:nvSpPr>
          <p:spPr>
            <a:xfrm rot="5400000">
              <a:off x="-612940" y="2810781"/>
              <a:ext cx="454415" cy="254029"/>
            </a:xfrm>
            <a:prstGeom prst="rect">
              <a:avLst/>
            </a:prstGeom>
            <a:solidFill>
              <a:srgbClr val="6D20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ght Purpl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09 / 32 / 119</a:t>
              </a:r>
            </a:p>
          </p:txBody>
        </p:sp>
        <p:sp>
          <p:nvSpPr>
            <p:cNvPr id="17" name="Rectangle 18">
              <a:extLst>
                <a:ext uri="{FF2B5EF4-FFF2-40B4-BE49-F238E27FC236}">
                  <a16:creationId xmlns:a16="http://schemas.microsoft.com/office/drawing/2014/main" id="{6BA8E5C1-A5C2-DC1A-2792-DDEA21AEC219}"/>
                </a:ext>
              </a:extLst>
            </p:cNvPr>
            <p:cNvSpPr/>
            <p:nvPr userDrawn="1"/>
          </p:nvSpPr>
          <p:spPr>
            <a:xfrm rot="5400000">
              <a:off x="-612940" y="3309234"/>
              <a:ext cx="454415" cy="254029"/>
            </a:xfrm>
            <a:prstGeom prst="rect">
              <a:avLst/>
            </a:prstGeom>
            <a:solidFill>
              <a:srgbClr val="00A3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Green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163 / 161</a:t>
              </a:r>
            </a:p>
          </p:txBody>
        </p:sp>
        <p:sp>
          <p:nvSpPr>
            <p:cNvPr id="18" name="Rectangle 19">
              <a:extLst>
                <a:ext uri="{FF2B5EF4-FFF2-40B4-BE49-F238E27FC236}">
                  <a16:creationId xmlns:a16="http://schemas.microsoft.com/office/drawing/2014/main" id="{0BA5A8A7-C794-CE52-10CC-26F757490050}"/>
                </a:ext>
              </a:extLst>
            </p:cNvPr>
            <p:cNvSpPr/>
            <p:nvPr userDrawn="1"/>
          </p:nvSpPr>
          <p:spPr>
            <a:xfrm rot="5400000">
              <a:off x="-612940" y="3807686"/>
              <a:ext cx="454415" cy="254029"/>
            </a:xfrm>
            <a:prstGeom prst="rect">
              <a:avLst/>
            </a:prstGeom>
            <a:solidFill>
              <a:srgbClr val="009A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rk Green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154 / 68</a:t>
              </a:r>
            </a:p>
          </p:txBody>
        </p:sp>
        <p:sp>
          <p:nvSpPr>
            <p:cNvPr id="19" name="Rectangle 20">
              <a:extLst>
                <a:ext uri="{FF2B5EF4-FFF2-40B4-BE49-F238E27FC236}">
                  <a16:creationId xmlns:a16="http://schemas.microsoft.com/office/drawing/2014/main" id="{68B39C92-AB84-56FB-B308-B04FB5179958}"/>
                </a:ext>
              </a:extLst>
            </p:cNvPr>
            <p:cNvSpPr/>
            <p:nvPr userDrawn="1"/>
          </p:nvSpPr>
          <p:spPr>
            <a:xfrm rot="5400000">
              <a:off x="-612940" y="4306139"/>
              <a:ext cx="454415" cy="254029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ght Green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67 / 176 / 42</a:t>
              </a:r>
            </a:p>
          </p:txBody>
        </p:sp>
        <p:sp>
          <p:nvSpPr>
            <p:cNvPr id="20" name="Rectangle 21">
              <a:extLst>
                <a:ext uri="{FF2B5EF4-FFF2-40B4-BE49-F238E27FC236}">
                  <a16:creationId xmlns:a16="http://schemas.microsoft.com/office/drawing/2014/main" id="{40F1CDDC-1FD5-66D5-9B81-06183DFC024F}"/>
                </a:ext>
              </a:extLst>
            </p:cNvPr>
            <p:cNvSpPr/>
            <p:nvPr userDrawn="1"/>
          </p:nvSpPr>
          <p:spPr>
            <a:xfrm rot="5400000">
              <a:off x="-612940" y="4804591"/>
              <a:ext cx="454415" cy="254029"/>
            </a:xfrm>
            <a:prstGeom prst="rect">
              <a:avLst/>
            </a:prstGeom>
            <a:solidFill>
              <a:srgbClr val="EAA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Yellow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34 / 170 / 0</a:t>
              </a:r>
            </a:p>
          </p:txBody>
        </p:sp>
        <p:sp>
          <p:nvSpPr>
            <p:cNvPr id="21" name="Rectangle 22">
              <a:extLst>
                <a:ext uri="{FF2B5EF4-FFF2-40B4-BE49-F238E27FC236}">
                  <a16:creationId xmlns:a16="http://schemas.microsoft.com/office/drawing/2014/main" id="{B38DE965-CACE-DF70-4705-8E2D35FD7A71}"/>
                </a:ext>
              </a:extLst>
            </p:cNvPr>
            <p:cNvSpPr/>
            <p:nvPr userDrawn="1"/>
          </p:nvSpPr>
          <p:spPr>
            <a:xfrm rot="5400000">
              <a:off x="-612940" y="5303043"/>
              <a:ext cx="454415" cy="254029"/>
            </a:xfrm>
            <a:prstGeom prst="rect">
              <a:avLst/>
            </a:prstGeom>
            <a:solidFill>
              <a:srgbClr val="F68D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Orang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46 / 141 / 46</a:t>
              </a:r>
            </a:p>
          </p:txBody>
        </p:sp>
        <p:sp>
          <p:nvSpPr>
            <p:cNvPr id="22" name="Rectangle 23">
              <a:extLst>
                <a:ext uri="{FF2B5EF4-FFF2-40B4-BE49-F238E27FC236}">
                  <a16:creationId xmlns:a16="http://schemas.microsoft.com/office/drawing/2014/main" id="{0900DA91-3F0B-81D4-794A-4C599987C045}"/>
                </a:ext>
              </a:extLst>
            </p:cNvPr>
            <p:cNvSpPr/>
            <p:nvPr userDrawn="1"/>
          </p:nvSpPr>
          <p:spPr>
            <a:xfrm rot="5400000">
              <a:off x="-612940" y="5801496"/>
              <a:ext cx="454415" cy="254029"/>
            </a:xfrm>
            <a:prstGeom prst="rect">
              <a:avLst/>
            </a:prstGeom>
            <a:solidFill>
              <a:srgbClr val="BC2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ed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88 / 32 / 75</a:t>
              </a:r>
            </a:p>
          </p:txBody>
        </p:sp>
        <p:sp>
          <p:nvSpPr>
            <p:cNvPr id="23" name="Rectangle 25">
              <a:extLst>
                <a:ext uri="{FF2B5EF4-FFF2-40B4-BE49-F238E27FC236}">
                  <a16:creationId xmlns:a16="http://schemas.microsoft.com/office/drawing/2014/main" id="{3CFC8264-DB89-E541-74D8-65EC86435431}"/>
                </a:ext>
              </a:extLst>
            </p:cNvPr>
            <p:cNvSpPr/>
            <p:nvPr userDrawn="1"/>
          </p:nvSpPr>
          <p:spPr>
            <a:xfrm rot="5400000">
              <a:off x="-612940" y="6299948"/>
              <a:ext cx="454415" cy="254029"/>
            </a:xfrm>
            <a:prstGeom prst="rect">
              <a:avLst/>
            </a:prstGeom>
            <a:solidFill>
              <a:srgbClr val="C600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ink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98 / 0 / 126</a:t>
              </a:r>
            </a:p>
          </p:txBody>
        </p:sp>
        <p:sp>
          <p:nvSpPr>
            <p:cNvPr id="24" name="Rectangle 5">
              <a:extLst>
                <a:ext uri="{FF2B5EF4-FFF2-40B4-BE49-F238E27FC236}">
                  <a16:creationId xmlns:a16="http://schemas.microsoft.com/office/drawing/2014/main" id="{8DA78130-FF66-0184-DC7C-B87782B2A9B9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75526"/>
              <a:ext cx="143082" cy="142065"/>
            </a:xfrm>
            <a:prstGeom prst="rect">
              <a:avLst/>
            </a:prstGeom>
            <a:solidFill>
              <a:srgbClr val="4066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" name="Rectangle 36">
              <a:extLst>
                <a:ext uri="{FF2B5EF4-FFF2-40B4-BE49-F238E27FC236}">
                  <a16:creationId xmlns:a16="http://schemas.microsoft.com/office/drawing/2014/main" id="{78FD865B-8F94-D0F7-3C16-64107FD43661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548093"/>
              <a:ext cx="143082" cy="142065"/>
            </a:xfrm>
            <a:prstGeom prst="rect">
              <a:avLst/>
            </a:prstGeom>
            <a:solidFill>
              <a:srgbClr val="8099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" name="Rectangle 31">
              <a:extLst>
                <a:ext uri="{FF2B5EF4-FFF2-40B4-BE49-F238E27FC236}">
                  <a16:creationId xmlns:a16="http://schemas.microsoft.com/office/drawing/2014/main" id="{42077A09-FB25-AAC4-9E2C-9B636D81D1AD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720659"/>
              <a:ext cx="143082" cy="142065"/>
            </a:xfrm>
            <a:prstGeom prst="rect">
              <a:avLst/>
            </a:prstGeom>
            <a:solidFill>
              <a:srgbClr val="BFCC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7" name="Rectangle 6">
              <a:extLst>
                <a:ext uri="{FF2B5EF4-FFF2-40B4-BE49-F238E27FC236}">
                  <a16:creationId xmlns:a16="http://schemas.microsoft.com/office/drawing/2014/main" id="{434A6901-A17B-60D9-68A5-3F030281E4FF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446322"/>
              <a:ext cx="143082" cy="142065"/>
            </a:xfrm>
            <a:prstGeom prst="rect">
              <a:avLst/>
            </a:prstGeom>
            <a:solidFill>
              <a:srgbClr val="7668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18EB2F1C-62FF-5AD5-F3EB-968693E1EB92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618888"/>
              <a:ext cx="143082" cy="142065"/>
            </a:xfrm>
            <a:prstGeom prst="rect">
              <a:avLst/>
            </a:prstGeom>
            <a:solidFill>
              <a:srgbClr val="A39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9" name="Rectangle 32">
              <a:extLst>
                <a:ext uri="{FF2B5EF4-FFF2-40B4-BE49-F238E27FC236}">
                  <a16:creationId xmlns:a16="http://schemas.microsoft.com/office/drawing/2014/main" id="{E6979D8F-7FB3-5090-C0CE-A53E05677B81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791454"/>
              <a:ext cx="143082" cy="142065"/>
            </a:xfrm>
            <a:prstGeom prst="rect">
              <a:avLst/>
            </a:prstGeom>
            <a:solidFill>
              <a:srgbClr val="D1CD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0" name="Rectangle 7">
              <a:extLst>
                <a:ext uri="{FF2B5EF4-FFF2-40B4-BE49-F238E27FC236}">
                  <a16:creationId xmlns:a16="http://schemas.microsoft.com/office/drawing/2014/main" id="{B52C9071-CA30-2522-706E-8B253B3DE5CF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898555"/>
              <a:ext cx="143082" cy="142065"/>
            </a:xfrm>
            <a:prstGeom prst="rect">
              <a:avLst/>
            </a:prstGeom>
            <a:solidFill>
              <a:srgbClr val="40BA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1" name="Rectangle 20">
              <a:extLst>
                <a:ext uri="{FF2B5EF4-FFF2-40B4-BE49-F238E27FC236}">
                  <a16:creationId xmlns:a16="http://schemas.microsoft.com/office/drawing/2014/main" id="{0F3542A3-AE5F-7D6C-89E6-A723C90737A5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071121"/>
              <a:ext cx="143082" cy="142065"/>
            </a:xfrm>
            <a:prstGeom prst="rect">
              <a:avLst/>
            </a:prstGeom>
            <a:solidFill>
              <a:srgbClr val="80D1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2" name="Rectangle 33">
              <a:extLst>
                <a:ext uri="{FF2B5EF4-FFF2-40B4-BE49-F238E27FC236}">
                  <a16:creationId xmlns:a16="http://schemas.microsoft.com/office/drawing/2014/main" id="{82DD7F73-5D0D-E6C3-7248-809C85D5C29C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243687"/>
              <a:ext cx="143082" cy="142065"/>
            </a:xfrm>
            <a:prstGeom prst="rect">
              <a:avLst/>
            </a:prstGeom>
            <a:solidFill>
              <a:srgbClr val="BF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" name="Rectangle 8">
              <a:extLst>
                <a:ext uri="{FF2B5EF4-FFF2-40B4-BE49-F238E27FC236}">
                  <a16:creationId xmlns:a16="http://schemas.microsoft.com/office/drawing/2014/main" id="{AE838895-00F0-671B-6ED8-DEA08EDA6A01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969350"/>
              <a:ext cx="143082" cy="142065"/>
            </a:xfrm>
            <a:prstGeom prst="rect">
              <a:avLst/>
            </a:prstGeom>
            <a:solidFill>
              <a:srgbClr val="EFBF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4" name="Rectangle 21">
              <a:extLst>
                <a:ext uri="{FF2B5EF4-FFF2-40B4-BE49-F238E27FC236}">
                  <a16:creationId xmlns:a16="http://schemas.microsoft.com/office/drawing/2014/main" id="{E7D0DAD4-98F0-E3AF-1605-46816A2E3452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6141916"/>
              <a:ext cx="143082" cy="142065"/>
            </a:xfrm>
            <a:prstGeom prst="rect">
              <a:avLst/>
            </a:prstGeom>
            <a:solidFill>
              <a:srgbClr val="F5D4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B4F5C707-40D5-6A49-03E4-D4E3BE4893A3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6314483"/>
              <a:ext cx="143082" cy="142065"/>
            </a:xfrm>
            <a:prstGeom prst="rect">
              <a:avLst/>
            </a:prstGeom>
            <a:solidFill>
              <a:srgbClr val="FAEA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6" name="Rectangle 9">
              <a:extLst>
                <a:ext uri="{FF2B5EF4-FFF2-40B4-BE49-F238E27FC236}">
                  <a16:creationId xmlns:a16="http://schemas.microsoft.com/office/drawing/2014/main" id="{90B2C115-9484-C26B-5B9B-AE53CC67D74F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756056"/>
              <a:ext cx="143082" cy="142065"/>
            </a:xfrm>
            <a:prstGeom prst="rect">
              <a:avLst/>
            </a:prstGeom>
            <a:solidFill>
              <a:srgbClr val="40AC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7" name="Rectangle 22">
              <a:extLst>
                <a:ext uri="{FF2B5EF4-FFF2-40B4-BE49-F238E27FC236}">
                  <a16:creationId xmlns:a16="http://schemas.microsoft.com/office/drawing/2014/main" id="{2986796D-301F-1C2D-A257-439FC23FFB46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928623"/>
              <a:ext cx="143082" cy="142065"/>
            </a:xfrm>
            <a:prstGeom prst="rect">
              <a:avLst/>
            </a:prstGeom>
            <a:solidFill>
              <a:srgbClr val="80C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8" name="Rectangle 49">
              <a:extLst>
                <a:ext uri="{FF2B5EF4-FFF2-40B4-BE49-F238E27FC236}">
                  <a16:creationId xmlns:a16="http://schemas.microsoft.com/office/drawing/2014/main" id="{E800CE6E-C512-5484-58C5-12C5517DC7BD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101189"/>
              <a:ext cx="143082" cy="142065"/>
            </a:xfrm>
            <a:prstGeom prst="rect">
              <a:avLst/>
            </a:prstGeom>
            <a:solidFill>
              <a:srgbClr val="BFE3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9" name="Rectangle 11">
              <a:extLst>
                <a:ext uri="{FF2B5EF4-FFF2-40B4-BE49-F238E27FC236}">
                  <a16:creationId xmlns:a16="http://schemas.microsoft.com/office/drawing/2014/main" id="{FBB02390-503F-0519-4BFE-6B288ED64F5B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279085"/>
              <a:ext cx="143082" cy="142065"/>
            </a:xfrm>
            <a:prstGeom prst="rect">
              <a:avLst/>
            </a:prstGeom>
            <a:solidFill>
              <a:srgbClr val="72B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0" name="Rectangle 24">
              <a:extLst>
                <a:ext uri="{FF2B5EF4-FFF2-40B4-BE49-F238E27FC236}">
                  <a16:creationId xmlns:a16="http://schemas.microsoft.com/office/drawing/2014/main" id="{889FFA07-F5C2-C297-C17D-9514F58736B2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451651"/>
              <a:ext cx="143082" cy="142065"/>
            </a:xfrm>
            <a:prstGeom prst="rect">
              <a:avLst/>
            </a:prstGeom>
            <a:solidFill>
              <a:srgbClr val="A1D3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1" name="Rectangle 55">
              <a:extLst>
                <a:ext uri="{FF2B5EF4-FFF2-40B4-BE49-F238E27FC236}">
                  <a16:creationId xmlns:a16="http://schemas.microsoft.com/office/drawing/2014/main" id="{9B50E65C-600F-000C-37F9-204EAC2FC00A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624218"/>
              <a:ext cx="143082" cy="142065"/>
            </a:xfrm>
            <a:prstGeom prst="rect">
              <a:avLst/>
            </a:prstGeom>
            <a:solidFill>
              <a:srgbClr val="D0E9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2" name="Rectangle 13">
              <a:extLst>
                <a:ext uri="{FF2B5EF4-FFF2-40B4-BE49-F238E27FC236}">
                  <a16:creationId xmlns:a16="http://schemas.microsoft.com/office/drawing/2014/main" id="{29035542-39FF-44ED-2DFD-427C20233E05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065791"/>
              <a:ext cx="143082" cy="142065"/>
            </a:xfrm>
            <a:prstGeom prst="rect">
              <a:avLst/>
            </a:prstGeom>
            <a:solidFill>
              <a:srgbClr val="4086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3" name="Rectangle 26">
              <a:extLst>
                <a:ext uri="{FF2B5EF4-FFF2-40B4-BE49-F238E27FC236}">
                  <a16:creationId xmlns:a16="http://schemas.microsoft.com/office/drawing/2014/main" id="{93458348-0C47-D164-4378-97EF7BB9C5BD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238358"/>
              <a:ext cx="143082" cy="142065"/>
            </a:xfrm>
            <a:prstGeom prst="rect">
              <a:avLst/>
            </a:prstGeom>
            <a:solidFill>
              <a:srgbClr val="80AE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4" name="Rectangle 39">
              <a:extLst>
                <a:ext uri="{FF2B5EF4-FFF2-40B4-BE49-F238E27FC236}">
                  <a16:creationId xmlns:a16="http://schemas.microsoft.com/office/drawing/2014/main" id="{C263CB67-A2A1-1E40-1DFB-34D2C949A248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410924"/>
              <a:ext cx="143082" cy="142065"/>
            </a:xfrm>
            <a:prstGeom prst="rect">
              <a:avLst/>
            </a:prstGeom>
            <a:solidFill>
              <a:srgbClr val="BFD7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5" name="Rectangle 14">
              <a:extLst>
                <a:ext uri="{FF2B5EF4-FFF2-40B4-BE49-F238E27FC236}">
                  <a16:creationId xmlns:a16="http://schemas.microsoft.com/office/drawing/2014/main" id="{9FDDC7B0-5DC5-AD01-6A4C-00A08F238117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136587"/>
              <a:ext cx="143082" cy="142065"/>
            </a:xfrm>
            <a:prstGeom prst="rect">
              <a:avLst/>
            </a:prstGeom>
            <a:solidFill>
              <a:srgbClr val="7747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6" name="Rectangle 27">
              <a:extLst>
                <a:ext uri="{FF2B5EF4-FFF2-40B4-BE49-F238E27FC236}">
                  <a16:creationId xmlns:a16="http://schemas.microsoft.com/office/drawing/2014/main" id="{C9073EFF-F5A4-728F-917D-F074C96D4ADC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309153"/>
              <a:ext cx="143082" cy="142065"/>
            </a:xfrm>
            <a:prstGeom prst="rect">
              <a:avLst/>
            </a:prstGeom>
            <a:solidFill>
              <a:srgbClr val="A485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7" name="Rectangle 40">
              <a:extLst>
                <a:ext uri="{FF2B5EF4-FFF2-40B4-BE49-F238E27FC236}">
                  <a16:creationId xmlns:a16="http://schemas.microsoft.com/office/drawing/2014/main" id="{294FCFE9-E454-C1FB-98BD-4BEDFC25F719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481719"/>
              <a:ext cx="143082" cy="142065"/>
            </a:xfrm>
            <a:prstGeom prst="rect">
              <a:avLst/>
            </a:prstGeom>
            <a:solidFill>
              <a:srgbClr val="D2C2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8" name="Rectangle 15">
              <a:extLst>
                <a:ext uri="{FF2B5EF4-FFF2-40B4-BE49-F238E27FC236}">
                  <a16:creationId xmlns:a16="http://schemas.microsoft.com/office/drawing/2014/main" id="{DBF6E7C7-B872-6C81-DE24-2A4B73258D51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588820"/>
              <a:ext cx="143082" cy="142065"/>
            </a:xfrm>
            <a:prstGeom prst="rect">
              <a:avLst/>
            </a:prstGeom>
            <a:solidFill>
              <a:srgbClr val="40B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9" name="Rectangle 28">
              <a:extLst>
                <a:ext uri="{FF2B5EF4-FFF2-40B4-BE49-F238E27FC236}">
                  <a16:creationId xmlns:a16="http://schemas.microsoft.com/office/drawing/2014/main" id="{705475E9-D131-C5E2-B2B6-E8F82CBE47E9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761386"/>
              <a:ext cx="143082" cy="142065"/>
            </a:xfrm>
            <a:prstGeom prst="rect">
              <a:avLst/>
            </a:prstGeom>
            <a:solidFill>
              <a:srgbClr val="80CD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0" name="Rectangle 41">
              <a:extLst>
                <a:ext uri="{FF2B5EF4-FFF2-40B4-BE49-F238E27FC236}">
                  <a16:creationId xmlns:a16="http://schemas.microsoft.com/office/drawing/2014/main" id="{63261430-4CD9-1BB8-9A3A-FB0ECA86DFA5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933953"/>
              <a:ext cx="143082" cy="142065"/>
            </a:xfrm>
            <a:prstGeom prst="rect">
              <a:avLst/>
            </a:prstGeom>
            <a:solidFill>
              <a:srgbClr val="BFE6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1" name="Rectangle 5">
              <a:extLst>
                <a:ext uri="{FF2B5EF4-FFF2-40B4-BE49-F238E27FC236}">
                  <a16:creationId xmlns:a16="http://schemas.microsoft.com/office/drawing/2014/main" id="{5209E986-4EC6-3BF6-F1D8-C9DE41A4C36B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02959"/>
              <a:ext cx="143082" cy="142065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2" name="Rectangle 6">
              <a:extLst>
                <a:ext uri="{FF2B5EF4-FFF2-40B4-BE49-F238E27FC236}">
                  <a16:creationId xmlns:a16="http://schemas.microsoft.com/office/drawing/2014/main" id="{5E5AE219-4367-BF88-A6BA-6E9404F6CFA3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273755"/>
              <a:ext cx="143082" cy="142065"/>
            </a:xfrm>
            <a:prstGeom prst="rect">
              <a:avLst/>
            </a:prstGeom>
            <a:solidFill>
              <a:srgbClr val="483698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3" name="Rectangle 7">
              <a:extLst>
                <a:ext uri="{FF2B5EF4-FFF2-40B4-BE49-F238E27FC236}">
                  <a16:creationId xmlns:a16="http://schemas.microsoft.com/office/drawing/2014/main" id="{87146981-BFB5-24B2-3667-2B054941E42D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725989"/>
              <a:ext cx="143082" cy="142065"/>
            </a:xfrm>
            <a:prstGeom prst="rect">
              <a:avLst/>
            </a:prstGeom>
            <a:solidFill>
              <a:srgbClr val="00A3A1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4" name="Rectangle 8">
              <a:extLst>
                <a:ext uri="{FF2B5EF4-FFF2-40B4-BE49-F238E27FC236}">
                  <a16:creationId xmlns:a16="http://schemas.microsoft.com/office/drawing/2014/main" id="{9621C45E-76C8-42A2-5A32-33C461659C08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796784"/>
              <a:ext cx="143082" cy="142065"/>
            </a:xfrm>
            <a:prstGeom prst="rect">
              <a:avLst/>
            </a:prstGeom>
            <a:solidFill>
              <a:srgbClr val="EAAA00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5" name="Rectangle 9">
              <a:extLst>
                <a:ext uri="{FF2B5EF4-FFF2-40B4-BE49-F238E27FC236}">
                  <a16:creationId xmlns:a16="http://schemas.microsoft.com/office/drawing/2014/main" id="{22F64300-E83C-A6BB-0D05-ECEA97A73068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583490"/>
              <a:ext cx="143082" cy="142065"/>
            </a:xfrm>
            <a:prstGeom prst="rect">
              <a:avLst/>
            </a:prstGeom>
            <a:solidFill>
              <a:srgbClr val="0091DA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6" name="Rectangle 11">
              <a:extLst>
                <a:ext uri="{FF2B5EF4-FFF2-40B4-BE49-F238E27FC236}">
                  <a16:creationId xmlns:a16="http://schemas.microsoft.com/office/drawing/2014/main" id="{01468A88-8A7A-74B1-188F-702E0227CDD6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106519"/>
              <a:ext cx="143082" cy="14206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7" name="Rectangle 13">
              <a:extLst>
                <a:ext uri="{FF2B5EF4-FFF2-40B4-BE49-F238E27FC236}">
                  <a16:creationId xmlns:a16="http://schemas.microsoft.com/office/drawing/2014/main" id="{E08E0414-8FA3-B573-AA10-2DF3808FA685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893225"/>
              <a:ext cx="143082" cy="142065"/>
            </a:xfrm>
            <a:prstGeom prst="rect">
              <a:avLst/>
            </a:prstGeom>
            <a:solidFill>
              <a:srgbClr val="005EB8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8" name="Rectangle 14">
              <a:extLst>
                <a:ext uri="{FF2B5EF4-FFF2-40B4-BE49-F238E27FC236}">
                  <a16:creationId xmlns:a16="http://schemas.microsoft.com/office/drawing/2014/main" id="{6703BF83-861D-FBC1-0138-5B866B18D61C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964020"/>
              <a:ext cx="143082" cy="142065"/>
            </a:xfrm>
            <a:prstGeom prst="rect">
              <a:avLst/>
            </a:prstGeom>
            <a:solidFill>
              <a:srgbClr val="470A68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9" name="Rectangle 15">
              <a:extLst>
                <a:ext uri="{FF2B5EF4-FFF2-40B4-BE49-F238E27FC236}">
                  <a16:creationId xmlns:a16="http://schemas.microsoft.com/office/drawing/2014/main" id="{E02242DD-0AAD-C7F6-5024-DA31F13A5400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416254"/>
              <a:ext cx="143082" cy="142065"/>
            </a:xfrm>
            <a:prstGeom prst="rect">
              <a:avLst/>
            </a:prstGeom>
            <a:solidFill>
              <a:srgbClr val="009A44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61" name="그룹 60">
            <a:extLst>
              <a:ext uri="{FF2B5EF4-FFF2-40B4-BE49-F238E27FC236}">
                <a16:creationId xmlns:a16="http://schemas.microsoft.com/office/drawing/2014/main" id="{BCF4F1D2-D0F2-63B4-AAB1-9665848F22BA}"/>
              </a:ext>
            </a:extLst>
          </p:cNvPr>
          <p:cNvGrpSpPr/>
          <p:nvPr userDrawn="1"/>
        </p:nvGrpSpPr>
        <p:grpSpPr>
          <a:xfrm>
            <a:off x="-1686237" y="249507"/>
            <a:ext cx="905097" cy="1763289"/>
            <a:chOff x="-2426585" y="2628263"/>
            <a:chExt cx="1763779" cy="1763289"/>
          </a:xfrm>
        </p:grpSpPr>
        <p:sp>
          <p:nvSpPr>
            <p:cNvPr id="62" name="Rectangle 3">
              <a:extLst>
                <a:ext uri="{FF2B5EF4-FFF2-40B4-BE49-F238E27FC236}">
                  <a16:creationId xmlns:a16="http://schemas.microsoft.com/office/drawing/2014/main" id="{5E448E61-F774-735B-3CED-9492931AD326}"/>
                </a:ext>
              </a:extLst>
            </p:cNvPr>
            <p:cNvSpPr/>
            <p:nvPr/>
          </p:nvSpPr>
          <p:spPr>
            <a:xfrm>
              <a:off x="-2426585" y="2880263"/>
              <a:ext cx="763000" cy="252000"/>
            </a:xfrm>
            <a:prstGeom prst="rect">
              <a:avLst/>
            </a:prstGeom>
            <a:solidFill>
              <a:srgbClr val="1E49E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 / 73 / 226</a:t>
              </a:r>
            </a:p>
          </p:txBody>
        </p:sp>
        <p:sp>
          <p:nvSpPr>
            <p:cNvPr id="63" name="Rectangle 4">
              <a:extLst>
                <a:ext uri="{FF2B5EF4-FFF2-40B4-BE49-F238E27FC236}">
                  <a16:creationId xmlns:a16="http://schemas.microsoft.com/office/drawing/2014/main" id="{9D8B5DBF-3325-65C9-3D0E-2C44E7DDCB58}"/>
                </a:ext>
              </a:extLst>
            </p:cNvPr>
            <p:cNvSpPr/>
            <p:nvPr/>
          </p:nvSpPr>
          <p:spPr>
            <a:xfrm>
              <a:off x="-2426585" y="2628405"/>
              <a:ext cx="763000" cy="252000"/>
            </a:xfrm>
            <a:prstGeom prst="rect">
              <a:avLst/>
            </a:prstGeom>
            <a:solidFill>
              <a:srgbClr val="00338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 / 51 / 141</a:t>
              </a:r>
            </a:p>
          </p:txBody>
        </p:sp>
        <p:sp>
          <p:nvSpPr>
            <p:cNvPr id="64" name="Rectangle 5">
              <a:extLst>
                <a:ext uri="{FF2B5EF4-FFF2-40B4-BE49-F238E27FC236}">
                  <a16:creationId xmlns:a16="http://schemas.microsoft.com/office/drawing/2014/main" id="{BA2E6F32-E0C2-768C-7A7F-A38803E3C7E1}"/>
                </a:ext>
              </a:extLst>
            </p:cNvPr>
            <p:cNvSpPr/>
            <p:nvPr/>
          </p:nvSpPr>
          <p:spPr>
            <a:xfrm>
              <a:off x="-2426585" y="3132121"/>
              <a:ext cx="763000" cy="252000"/>
            </a:xfrm>
            <a:prstGeom prst="rect">
              <a:avLst/>
            </a:prstGeom>
            <a:solidFill>
              <a:srgbClr val="0C233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 / 35 / 60</a:t>
              </a:r>
            </a:p>
          </p:txBody>
        </p:sp>
        <p:sp>
          <p:nvSpPr>
            <p:cNvPr id="65" name="Rectangle 6">
              <a:extLst>
                <a:ext uri="{FF2B5EF4-FFF2-40B4-BE49-F238E27FC236}">
                  <a16:creationId xmlns:a16="http://schemas.microsoft.com/office/drawing/2014/main" id="{10CF699E-4B1C-EA3D-8C81-7C6CA68A2279}"/>
                </a:ext>
              </a:extLst>
            </p:cNvPr>
            <p:cNvSpPr/>
            <p:nvPr/>
          </p:nvSpPr>
          <p:spPr>
            <a:xfrm>
              <a:off x="-2426585" y="3383979"/>
              <a:ext cx="763000" cy="252000"/>
            </a:xfrm>
            <a:prstGeom prst="rect">
              <a:avLst/>
            </a:prstGeom>
            <a:solidFill>
              <a:srgbClr val="ACEA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72 / 234 / 255</a:t>
              </a:r>
            </a:p>
          </p:txBody>
        </p:sp>
        <p:sp>
          <p:nvSpPr>
            <p:cNvPr id="66" name="Rectangle 19">
              <a:extLst>
                <a:ext uri="{FF2B5EF4-FFF2-40B4-BE49-F238E27FC236}">
                  <a16:creationId xmlns:a16="http://schemas.microsoft.com/office/drawing/2014/main" id="{2BD136DB-1B6E-7700-4733-B50FFB55A088}"/>
                </a:ext>
              </a:extLst>
            </p:cNvPr>
            <p:cNvSpPr/>
            <p:nvPr/>
          </p:nvSpPr>
          <p:spPr>
            <a:xfrm>
              <a:off x="-2426585" y="3635837"/>
              <a:ext cx="763000" cy="252000"/>
            </a:xfrm>
            <a:prstGeom prst="rect">
              <a:avLst/>
            </a:prstGeom>
            <a:solidFill>
              <a:srgbClr val="00B8F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 / 184 / 245</a:t>
              </a:r>
            </a:p>
          </p:txBody>
        </p:sp>
        <p:sp>
          <p:nvSpPr>
            <p:cNvPr id="67" name="Rectangle 20">
              <a:extLst>
                <a:ext uri="{FF2B5EF4-FFF2-40B4-BE49-F238E27FC236}">
                  <a16:creationId xmlns:a16="http://schemas.microsoft.com/office/drawing/2014/main" id="{BE50824A-81E4-4EDD-6AC9-F89FE2BC72D1}"/>
                </a:ext>
              </a:extLst>
            </p:cNvPr>
            <p:cNvSpPr/>
            <p:nvPr/>
          </p:nvSpPr>
          <p:spPr>
            <a:xfrm>
              <a:off x="-2426585" y="3887695"/>
              <a:ext cx="763000" cy="252000"/>
            </a:xfrm>
            <a:prstGeom prst="rect">
              <a:avLst/>
            </a:prstGeom>
            <a:solidFill>
              <a:srgbClr val="7213E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14 / 19 / 234</a:t>
              </a:r>
            </a:p>
          </p:txBody>
        </p:sp>
        <p:sp>
          <p:nvSpPr>
            <p:cNvPr id="68" name="Rectangle 21">
              <a:extLst>
                <a:ext uri="{FF2B5EF4-FFF2-40B4-BE49-F238E27FC236}">
                  <a16:creationId xmlns:a16="http://schemas.microsoft.com/office/drawing/2014/main" id="{2014A94E-D3D0-4B6D-89B8-B1C32119D13F}"/>
                </a:ext>
              </a:extLst>
            </p:cNvPr>
            <p:cNvSpPr/>
            <p:nvPr/>
          </p:nvSpPr>
          <p:spPr>
            <a:xfrm>
              <a:off x="-2426585" y="4139552"/>
              <a:ext cx="763000" cy="252000"/>
            </a:xfrm>
            <a:prstGeom prst="rect">
              <a:avLst/>
            </a:prstGeom>
            <a:solidFill>
              <a:srgbClr val="FD349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53 / 52 / 156</a:t>
              </a:r>
            </a:p>
          </p:txBody>
        </p:sp>
        <p:sp>
          <p:nvSpPr>
            <p:cNvPr id="69" name="Rectangle 3">
              <a:extLst>
                <a:ext uri="{FF2B5EF4-FFF2-40B4-BE49-F238E27FC236}">
                  <a16:creationId xmlns:a16="http://schemas.microsoft.com/office/drawing/2014/main" id="{C6AC44EF-FE6A-7967-F652-2F63FBDFAD95}"/>
                </a:ext>
              </a:extLst>
            </p:cNvPr>
            <p:cNvSpPr/>
            <p:nvPr/>
          </p:nvSpPr>
          <p:spPr>
            <a:xfrm>
              <a:off x="-1667383" y="2880263"/>
              <a:ext cx="252000" cy="252000"/>
            </a:xfrm>
            <a:prstGeom prst="rect">
              <a:avLst/>
            </a:prstGeom>
            <a:solidFill>
              <a:srgbClr val="4B6D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Rectangle 4">
              <a:extLst>
                <a:ext uri="{FF2B5EF4-FFF2-40B4-BE49-F238E27FC236}">
                  <a16:creationId xmlns:a16="http://schemas.microsoft.com/office/drawing/2014/main" id="{5917B02C-295B-5EE3-455C-F5E4C1113FB7}"/>
                </a:ext>
              </a:extLst>
            </p:cNvPr>
            <p:cNvSpPr/>
            <p:nvPr/>
          </p:nvSpPr>
          <p:spPr>
            <a:xfrm>
              <a:off x="-1667383" y="2628405"/>
              <a:ext cx="252000" cy="252000"/>
            </a:xfrm>
            <a:prstGeom prst="rect">
              <a:avLst/>
            </a:prstGeom>
            <a:solidFill>
              <a:srgbClr val="335CA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Rectangle 5">
              <a:extLst>
                <a:ext uri="{FF2B5EF4-FFF2-40B4-BE49-F238E27FC236}">
                  <a16:creationId xmlns:a16="http://schemas.microsoft.com/office/drawing/2014/main" id="{17FA601A-CE70-C998-3588-4A5335695E18}"/>
                </a:ext>
              </a:extLst>
            </p:cNvPr>
            <p:cNvSpPr/>
            <p:nvPr/>
          </p:nvSpPr>
          <p:spPr>
            <a:xfrm>
              <a:off x="-1667383" y="3132121"/>
              <a:ext cx="252000" cy="252000"/>
            </a:xfrm>
            <a:prstGeom prst="rect">
              <a:avLst/>
            </a:prstGeom>
            <a:solidFill>
              <a:srgbClr val="3D4F6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Rectangle 6">
              <a:extLst>
                <a:ext uri="{FF2B5EF4-FFF2-40B4-BE49-F238E27FC236}">
                  <a16:creationId xmlns:a16="http://schemas.microsoft.com/office/drawing/2014/main" id="{A5A7B4E9-C96F-C085-175A-2C10E8C02B4A}"/>
                </a:ext>
              </a:extLst>
            </p:cNvPr>
            <p:cNvSpPr/>
            <p:nvPr/>
          </p:nvSpPr>
          <p:spPr>
            <a:xfrm>
              <a:off x="-1667383" y="3383979"/>
              <a:ext cx="252000" cy="252000"/>
            </a:xfrm>
            <a:prstGeom prst="rect">
              <a:avLst/>
            </a:prstGeom>
            <a:solidFill>
              <a:srgbClr val="BDEE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Rectangle 19">
              <a:extLst>
                <a:ext uri="{FF2B5EF4-FFF2-40B4-BE49-F238E27FC236}">
                  <a16:creationId xmlns:a16="http://schemas.microsoft.com/office/drawing/2014/main" id="{2DF6DD8B-24A7-03EA-FF92-E819C7150296}"/>
                </a:ext>
              </a:extLst>
            </p:cNvPr>
            <p:cNvSpPr/>
            <p:nvPr/>
          </p:nvSpPr>
          <p:spPr>
            <a:xfrm>
              <a:off x="-1667383" y="3635837"/>
              <a:ext cx="252000" cy="252000"/>
            </a:xfrm>
            <a:prstGeom prst="rect">
              <a:avLst/>
            </a:prstGeom>
            <a:solidFill>
              <a:srgbClr val="33C6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Rectangle 20">
              <a:extLst>
                <a:ext uri="{FF2B5EF4-FFF2-40B4-BE49-F238E27FC236}">
                  <a16:creationId xmlns:a16="http://schemas.microsoft.com/office/drawing/2014/main" id="{0BB34A9A-F5B4-7465-1678-39391778FC59}"/>
                </a:ext>
              </a:extLst>
            </p:cNvPr>
            <p:cNvSpPr/>
            <p:nvPr/>
          </p:nvSpPr>
          <p:spPr>
            <a:xfrm>
              <a:off x="-1667383" y="3887695"/>
              <a:ext cx="252000" cy="252000"/>
            </a:xfrm>
            <a:prstGeom prst="rect">
              <a:avLst/>
            </a:prstGeom>
            <a:solidFill>
              <a:srgbClr val="8E42E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Rectangle 21">
              <a:extLst>
                <a:ext uri="{FF2B5EF4-FFF2-40B4-BE49-F238E27FC236}">
                  <a16:creationId xmlns:a16="http://schemas.microsoft.com/office/drawing/2014/main" id="{F86CE798-2FE9-601B-8D8B-922FE059A579}"/>
                </a:ext>
              </a:extLst>
            </p:cNvPr>
            <p:cNvSpPr/>
            <p:nvPr/>
          </p:nvSpPr>
          <p:spPr>
            <a:xfrm>
              <a:off x="-1667383" y="4139552"/>
              <a:ext cx="252000" cy="252000"/>
            </a:xfrm>
            <a:prstGeom prst="rect">
              <a:avLst/>
            </a:prstGeom>
            <a:solidFill>
              <a:srgbClr val="FD5DB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Rectangle 3">
              <a:extLst>
                <a:ext uri="{FF2B5EF4-FFF2-40B4-BE49-F238E27FC236}">
                  <a16:creationId xmlns:a16="http://schemas.microsoft.com/office/drawing/2014/main" id="{DFBFE615-215F-E40C-7156-E6C0FEC1E3D3}"/>
                </a:ext>
              </a:extLst>
            </p:cNvPr>
            <p:cNvSpPr/>
            <p:nvPr/>
          </p:nvSpPr>
          <p:spPr>
            <a:xfrm>
              <a:off x="-1415383" y="2880263"/>
              <a:ext cx="252000" cy="252000"/>
            </a:xfrm>
            <a:prstGeom prst="rect">
              <a:avLst/>
            </a:prstGeom>
            <a:solidFill>
              <a:srgbClr val="7892E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Rectangle 4">
              <a:extLst>
                <a:ext uri="{FF2B5EF4-FFF2-40B4-BE49-F238E27FC236}">
                  <a16:creationId xmlns:a16="http://schemas.microsoft.com/office/drawing/2014/main" id="{C6DEC9A6-212C-9C26-D291-1ACE3CEBE9F7}"/>
                </a:ext>
              </a:extLst>
            </p:cNvPr>
            <p:cNvSpPr/>
            <p:nvPr/>
          </p:nvSpPr>
          <p:spPr>
            <a:xfrm>
              <a:off x="-1415383" y="2628405"/>
              <a:ext cx="252000" cy="252000"/>
            </a:xfrm>
            <a:prstGeom prst="rect">
              <a:avLst/>
            </a:prstGeom>
            <a:solidFill>
              <a:srgbClr val="6685B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Rectangle 5">
              <a:extLst>
                <a:ext uri="{FF2B5EF4-FFF2-40B4-BE49-F238E27FC236}">
                  <a16:creationId xmlns:a16="http://schemas.microsoft.com/office/drawing/2014/main" id="{1D71270B-E961-1E19-23C8-EAB7AC4C19F3}"/>
                </a:ext>
              </a:extLst>
            </p:cNvPr>
            <p:cNvSpPr/>
            <p:nvPr/>
          </p:nvSpPr>
          <p:spPr>
            <a:xfrm>
              <a:off x="-1415383" y="3132121"/>
              <a:ext cx="252000" cy="252000"/>
            </a:xfrm>
            <a:prstGeom prst="rect">
              <a:avLst/>
            </a:prstGeom>
            <a:solidFill>
              <a:srgbClr val="6D7B8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Rectangle 6">
              <a:extLst>
                <a:ext uri="{FF2B5EF4-FFF2-40B4-BE49-F238E27FC236}">
                  <a16:creationId xmlns:a16="http://schemas.microsoft.com/office/drawing/2014/main" id="{ED6B3B0A-845A-2E60-1911-4ED7F37415A8}"/>
                </a:ext>
              </a:extLst>
            </p:cNvPr>
            <p:cNvSpPr/>
            <p:nvPr/>
          </p:nvSpPr>
          <p:spPr>
            <a:xfrm>
              <a:off x="-1415383" y="3383979"/>
              <a:ext cx="252000" cy="252000"/>
            </a:xfrm>
            <a:prstGeom prst="rect">
              <a:avLst/>
            </a:prstGeom>
            <a:solidFill>
              <a:srgbClr val="CDF2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Rectangle 19">
              <a:extLst>
                <a:ext uri="{FF2B5EF4-FFF2-40B4-BE49-F238E27FC236}">
                  <a16:creationId xmlns:a16="http://schemas.microsoft.com/office/drawing/2014/main" id="{8EE35556-1037-3967-E811-547DFBEBE4A5}"/>
                </a:ext>
              </a:extLst>
            </p:cNvPr>
            <p:cNvSpPr/>
            <p:nvPr/>
          </p:nvSpPr>
          <p:spPr>
            <a:xfrm>
              <a:off x="-1415383" y="3635837"/>
              <a:ext cx="252000" cy="252000"/>
            </a:xfrm>
            <a:prstGeom prst="rect">
              <a:avLst/>
            </a:prstGeom>
            <a:solidFill>
              <a:srgbClr val="66D4F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Rectangle 20">
              <a:extLst>
                <a:ext uri="{FF2B5EF4-FFF2-40B4-BE49-F238E27FC236}">
                  <a16:creationId xmlns:a16="http://schemas.microsoft.com/office/drawing/2014/main" id="{BC5B9E49-98AD-8BF8-5C01-A70228260304}"/>
                </a:ext>
              </a:extLst>
            </p:cNvPr>
            <p:cNvSpPr/>
            <p:nvPr/>
          </p:nvSpPr>
          <p:spPr>
            <a:xfrm>
              <a:off x="-1415383" y="3887695"/>
              <a:ext cx="252000" cy="252000"/>
            </a:xfrm>
            <a:prstGeom prst="rect">
              <a:avLst/>
            </a:prstGeom>
            <a:solidFill>
              <a:srgbClr val="AA71F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Rectangle 21">
              <a:extLst>
                <a:ext uri="{FF2B5EF4-FFF2-40B4-BE49-F238E27FC236}">
                  <a16:creationId xmlns:a16="http://schemas.microsoft.com/office/drawing/2014/main" id="{AA9BF68E-9342-B485-696B-691A33D0605E}"/>
                </a:ext>
              </a:extLst>
            </p:cNvPr>
            <p:cNvSpPr/>
            <p:nvPr/>
          </p:nvSpPr>
          <p:spPr>
            <a:xfrm>
              <a:off x="-1415383" y="4139552"/>
              <a:ext cx="252000" cy="252000"/>
            </a:xfrm>
            <a:prstGeom prst="rect">
              <a:avLst/>
            </a:prstGeom>
            <a:solidFill>
              <a:srgbClr val="FE85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Rectangle 3">
              <a:extLst>
                <a:ext uri="{FF2B5EF4-FFF2-40B4-BE49-F238E27FC236}">
                  <a16:creationId xmlns:a16="http://schemas.microsoft.com/office/drawing/2014/main" id="{E4E08306-822B-5EB8-36A6-6DC7830544BF}"/>
                </a:ext>
              </a:extLst>
            </p:cNvPr>
            <p:cNvSpPr/>
            <p:nvPr/>
          </p:nvSpPr>
          <p:spPr>
            <a:xfrm>
              <a:off x="-1166305" y="2880263"/>
              <a:ext cx="252000" cy="252000"/>
            </a:xfrm>
            <a:prstGeom prst="rect">
              <a:avLst/>
            </a:prstGeom>
            <a:solidFill>
              <a:srgbClr val="A5B6F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Rectangle 4">
              <a:extLst>
                <a:ext uri="{FF2B5EF4-FFF2-40B4-BE49-F238E27FC236}">
                  <a16:creationId xmlns:a16="http://schemas.microsoft.com/office/drawing/2014/main" id="{5F9437D1-C719-4F0E-AFAF-D9141CDA7792}"/>
                </a:ext>
              </a:extLst>
            </p:cNvPr>
            <p:cNvSpPr/>
            <p:nvPr/>
          </p:nvSpPr>
          <p:spPr>
            <a:xfrm>
              <a:off x="-1166305" y="2628405"/>
              <a:ext cx="252000" cy="252000"/>
            </a:xfrm>
            <a:prstGeom prst="rect">
              <a:avLst/>
            </a:prstGeom>
            <a:solidFill>
              <a:srgbClr val="99ADD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Rectangle 5">
              <a:extLst>
                <a:ext uri="{FF2B5EF4-FFF2-40B4-BE49-F238E27FC236}">
                  <a16:creationId xmlns:a16="http://schemas.microsoft.com/office/drawing/2014/main" id="{4C01E791-09C4-8994-8FC7-FF7BDF9F0930}"/>
                </a:ext>
              </a:extLst>
            </p:cNvPr>
            <p:cNvSpPr/>
            <p:nvPr/>
          </p:nvSpPr>
          <p:spPr>
            <a:xfrm>
              <a:off x="-1166305" y="3132121"/>
              <a:ext cx="252000" cy="252000"/>
            </a:xfrm>
            <a:prstGeom prst="rect">
              <a:avLst/>
            </a:prstGeom>
            <a:solidFill>
              <a:srgbClr val="9EA7B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Rectangle 6">
              <a:extLst>
                <a:ext uri="{FF2B5EF4-FFF2-40B4-BE49-F238E27FC236}">
                  <a16:creationId xmlns:a16="http://schemas.microsoft.com/office/drawing/2014/main" id="{2FC3B6D7-AA9C-6F55-27C2-F69736D50C5A}"/>
                </a:ext>
              </a:extLst>
            </p:cNvPr>
            <p:cNvSpPr/>
            <p:nvPr/>
          </p:nvSpPr>
          <p:spPr>
            <a:xfrm>
              <a:off x="-1166305" y="3383979"/>
              <a:ext cx="252000" cy="252000"/>
            </a:xfrm>
            <a:prstGeom prst="rect">
              <a:avLst/>
            </a:prstGeom>
            <a:solidFill>
              <a:srgbClr val="DEF7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Rectangle 19">
              <a:extLst>
                <a:ext uri="{FF2B5EF4-FFF2-40B4-BE49-F238E27FC236}">
                  <a16:creationId xmlns:a16="http://schemas.microsoft.com/office/drawing/2014/main" id="{6B5922E7-5FB8-FA02-1D47-2ADDEF0D3BBE}"/>
                </a:ext>
              </a:extLst>
            </p:cNvPr>
            <p:cNvSpPr/>
            <p:nvPr/>
          </p:nvSpPr>
          <p:spPr>
            <a:xfrm>
              <a:off x="-1166305" y="3635837"/>
              <a:ext cx="252000" cy="252000"/>
            </a:xfrm>
            <a:prstGeom prst="rect">
              <a:avLst/>
            </a:prstGeom>
            <a:solidFill>
              <a:srgbClr val="99E3F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Rectangle 20">
              <a:extLst>
                <a:ext uri="{FF2B5EF4-FFF2-40B4-BE49-F238E27FC236}">
                  <a16:creationId xmlns:a16="http://schemas.microsoft.com/office/drawing/2014/main" id="{3654A10A-23E6-E81A-5A6E-66D8A52E07D6}"/>
                </a:ext>
              </a:extLst>
            </p:cNvPr>
            <p:cNvSpPr/>
            <p:nvPr/>
          </p:nvSpPr>
          <p:spPr>
            <a:xfrm>
              <a:off x="-1166305" y="3887695"/>
              <a:ext cx="252000" cy="252000"/>
            </a:xfrm>
            <a:prstGeom prst="rect">
              <a:avLst/>
            </a:prstGeom>
            <a:solidFill>
              <a:srgbClr val="C7A1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Rectangle 21">
              <a:extLst>
                <a:ext uri="{FF2B5EF4-FFF2-40B4-BE49-F238E27FC236}">
                  <a16:creationId xmlns:a16="http://schemas.microsoft.com/office/drawing/2014/main" id="{60F036D5-5739-1F50-D368-0710A1524EE3}"/>
                </a:ext>
              </a:extLst>
            </p:cNvPr>
            <p:cNvSpPr/>
            <p:nvPr/>
          </p:nvSpPr>
          <p:spPr>
            <a:xfrm>
              <a:off x="-1166305" y="4139552"/>
              <a:ext cx="252000" cy="252000"/>
            </a:xfrm>
            <a:prstGeom prst="rect">
              <a:avLst/>
            </a:prstGeom>
            <a:solidFill>
              <a:srgbClr val="FEAED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Rectangle 3">
              <a:extLst>
                <a:ext uri="{FF2B5EF4-FFF2-40B4-BE49-F238E27FC236}">
                  <a16:creationId xmlns:a16="http://schemas.microsoft.com/office/drawing/2014/main" id="{55B9E6CA-1149-C44F-F3B0-5ECE25D999BA}"/>
                </a:ext>
              </a:extLst>
            </p:cNvPr>
            <p:cNvSpPr/>
            <p:nvPr/>
          </p:nvSpPr>
          <p:spPr>
            <a:xfrm>
              <a:off x="-914806" y="2880121"/>
              <a:ext cx="252000" cy="252000"/>
            </a:xfrm>
            <a:prstGeom prst="rect">
              <a:avLst/>
            </a:prstGeom>
            <a:solidFill>
              <a:srgbClr val="D2DBF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Rectangle 4">
              <a:extLst>
                <a:ext uri="{FF2B5EF4-FFF2-40B4-BE49-F238E27FC236}">
                  <a16:creationId xmlns:a16="http://schemas.microsoft.com/office/drawing/2014/main" id="{822CF4AE-6385-14A0-3994-923C773CD5C8}"/>
                </a:ext>
              </a:extLst>
            </p:cNvPr>
            <p:cNvSpPr/>
            <p:nvPr/>
          </p:nvSpPr>
          <p:spPr>
            <a:xfrm>
              <a:off x="-914806" y="2628263"/>
              <a:ext cx="252000" cy="252000"/>
            </a:xfrm>
            <a:prstGeom prst="rect">
              <a:avLst/>
            </a:prstGeom>
            <a:solidFill>
              <a:srgbClr val="CCD6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Rectangle 5">
              <a:extLst>
                <a:ext uri="{FF2B5EF4-FFF2-40B4-BE49-F238E27FC236}">
                  <a16:creationId xmlns:a16="http://schemas.microsoft.com/office/drawing/2014/main" id="{FF28798D-496A-81F6-8296-9B86F0B02A69}"/>
                </a:ext>
              </a:extLst>
            </p:cNvPr>
            <p:cNvSpPr/>
            <p:nvPr/>
          </p:nvSpPr>
          <p:spPr>
            <a:xfrm>
              <a:off x="-914806" y="3131979"/>
              <a:ext cx="252000" cy="252000"/>
            </a:xfrm>
            <a:prstGeom prst="rect">
              <a:avLst/>
            </a:prstGeom>
            <a:solidFill>
              <a:srgbClr val="CED3D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Rectangle 6">
              <a:extLst>
                <a:ext uri="{FF2B5EF4-FFF2-40B4-BE49-F238E27FC236}">
                  <a16:creationId xmlns:a16="http://schemas.microsoft.com/office/drawing/2014/main" id="{85CD91B5-C13E-1B8B-0B06-3D8E58BBF7AE}"/>
                </a:ext>
              </a:extLst>
            </p:cNvPr>
            <p:cNvSpPr/>
            <p:nvPr/>
          </p:nvSpPr>
          <p:spPr>
            <a:xfrm>
              <a:off x="-914806" y="3383837"/>
              <a:ext cx="252000" cy="252000"/>
            </a:xfrm>
            <a:prstGeom prst="rect">
              <a:avLst/>
            </a:prstGeom>
            <a:solidFill>
              <a:srgbClr val="EEFB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Rectangle 19">
              <a:extLst>
                <a:ext uri="{FF2B5EF4-FFF2-40B4-BE49-F238E27FC236}">
                  <a16:creationId xmlns:a16="http://schemas.microsoft.com/office/drawing/2014/main" id="{A6746974-6E8E-581A-99E2-40FE9A2359CD}"/>
                </a:ext>
              </a:extLst>
            </p:cNvPr>
            <p:cNvSpPr/>
            <p:nvPr/>
          </p:nvSpPr>
          <p:spPr>
            <a:xfrm>
              <a:off x="-914806" y="3635695"/>
              <a:ext cx="252000" cy="252000"/>
            </a:xfrm>
            <a:prstGeom prst="rect">
              <a:avLst/>
            </a:prstGeom>
            <a:solidFill>
              <a:srgbClr val="CCF1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Rectangle 20">
              <a:extLst>
                <a:ext uri="{FF2B5EF4-FFF2-40B4-BE49-F238E27FC236}">
                  <a16:creationId xmlns:a16="http://schemas.microsoft.com/office/drawing/2014/main" id="{2619A6A1-F0CF-B7F2-C5F7-A757A389A525}"/>
                </a:ext>
              </a:extLst>
            </p:cNvPr>
            <p:cNvSpPr/>
            <p:nvPr/>
          </p:nvSpPr>
          <p:spPr>
            <a:xfrm>
              <a:off x="-914806" y="3887553"/>
              <a:ext cx="252000" cy="252000"/>
            </a:xfrm>
            <a:prstGeom prst="rect">
              <a:avLst/>
            </a:prstGeom>
            <a:solidFill>
              <a:srgbClr val="E3D0F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Rectangle 21">
              <a:extLst>
                <a:ext uri="{FF2B5EF4-FFF2-40B4-BE49-F238E27FC236}">
                  <a16:creationId xmlns:a16="http://schemas.microsoft.com/office/drawing/2014/main" id="{F22A6C3C-B153-9249-48A2-63022068D887}"/>
                </a:ext>
              </a:extLst>
            </p:cNvPr>
            <p:cNvSpPr/>
            <p:nvPr/>
          </p:nvSpPr>
          <p:spPr>
            <a:xfrm>
              <a:off x="-914806" y="4139410"/>
              <a:ext cx="252000" cy="252000"/>
            </a:xfrm>
            <a:prstGeom prst="rect">
              <a:avLst/>
            </a:prstGeom>
            <a:solidFill>
              <a:srgbClr val="FFD6E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99" name="직선 연결선 98">
            <a:extLst>
              <a:ext uri="{FF2B5EF4-FFF2-40B4-BE49-F238E27FC236}">
                <a16:creationId xmlns:a16="http://schemas.microsoft.com/office/drawing/2014/main" id="{F62B3E01-57C8-6956-AC91-3650B4222E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24075" y="592688"/>
            <a:ext cx="7920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4E4F5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1" name="TextBox 4">
            <a:extLst>
              <a:ext uri="{FF2B5EF4-FFF2-40B4-BE49-F238E27FC236}">
                <a16:creationId xmlns:a16="http://schemas.microsoft.com/office/drawing/2014/main" id="{DD8248C9-28DD-35DB-D14E-3CB7824FB34E}"/>
              </a:ext>
            </a:extLst>
          </p:cNvPr>
          <p:cNvSpPr txBox="1"/>
          <p:nvPr userDrawn="1"/>
        </p:nvSpPr>
        <p:spPr>
          <a:xfrm>
            <a:off x="1540476" y="1436657"/>
            <a:ext cx="2952000" cy="4414561"/>
          </a:xfrm>
          <a:prstGeom prst="rect">
            <a:avLst/>
          </a:prstGeom>
        </p:spPr>
        <p:txBody>
          <a:bodyPr lIns="27093" tIns="27093" rIns="27093" bIns="27093" rtlCol="0" anchor="ctr"/>
          <a:lstStyle/>
          <a:p>
            <a:pPr algn="ctr">
              <a:lnSpc>
                <a:spcPts val="1493"/>
              </a:lnSpc>
            </a:pPr>
            <a:endParaRPr/>
          </a:p>
        </p:txBody>
      </p:sp>
      <p:grpSp>
        <p:nvGrpSpPr>
          <p:cNvPr id="103" name="그룹 102">
            <a:extLst>
              <a:ext uri="{FF2B5EF4-FFF2-40B4-BE49-F238E27FC236}">
                <a16:creationId xmlns:a16="http://schemas.microsoft.com/office/drawing/2014/main" id="{AFBC4B12-800C-20A3-5E02-9955947E7AE0}"/>
              </a:ext>
            </a:extLst>
          </p:cNvPr>
          <p:cNvGrpSpPr/>
          <p:nvPr userDrawn="1"/>
        </p:nvGrpSpPr>
        <p:grpSpPr>
          <a:xfrm>
            <a:off x="8534231" y="-387424"/>
            <a:ext cx="1098719" cy="252142"/>
            <a:chOff x="8534231" y="-387424"/>
            <a:chExt cx="1098719" cy="252142"/>
          </a:xfrm>
        </p:grpSpPr>
        <p:sp>
          <p:nvSpPr>
            <p:cNvPr id="104" name="Rectangle 4">
              <a:extLst>
                <a:ext uri="{FF2B5EF4-FFF2-40B4-BE49-F238E27FC236}">
                  <a16:creationId xmlns:a16="http://schemas.microsoft.com/office/drawing/2014/main" id="{D2DE89D2-5AF5-1DFA-ADF0-CF3A46609CBF}"/>
                </a:ext>
              </a:extLst>
            </p:cNvPr>
            <p:cNvSpPr/>
            <p:nvPr userDrawn="1"/>
          </p:nvSpPr>
          <p:spPr>
            <a:xfrm>
              <a:off x="8534231" y="-387282"/>
              <a:ext cx="980176" cy="252000"/>
            </a:xfrm>
            <a:prstGeom prst="rect">
              <a:avLst/>
            </a:pr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 / 35 / 60`</a:t>
              </a:r>
            </a:p>
          </p:txBody>
        </p:sp>
        <p:sp>
          <p:nvSpPr>
            <p:cNvPr id="105" name="Rectangle 4">
              <a:extLst>
                <a:ext uri="{FF2B5EF4-FFF2-40B4-BE49-F238E27FC236}">
                  <a16:creationId xmlns:a16="http://schemas.microsoft.com/office/drawing/2014/main" id="{B99D1402-8728-18E3-41AD-039A280A989D}"/>
                </a:ext>
              </a:extLst>
            </p:cNvPr>
            <p:cNvSpPr/>
            <p:nvPr userDrawn="1"/>
          </p:nvSpPr>
          <p:spPr>
            <a:xfrm>
              <a:off x="9124695" y="-387282"/>
              <a:ext cx="127497" cy="252000"/>
            </a:xfrm>
            <a:prstGeom prst="rect">
              <a:avLst/>
            </a:prstGeom>
            <a:solidFill>
              <a:srgbClr val="4E4F5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Rectangle 4">
              <a:extLst>
                <a:ext uri="{FF2B5EF4-FFF2-40B4-BE49-F238E27FC236}">
                  <a16:creationId xmlns:a16="http://schemas.microsoft.com/office/drawing/2014/main" id="{B76B6F8C-48BD-431C-2F68-6A8E18AEA2A9}"/>
                </a:ext>
              </a:extLst>
            </p:cNvPr>
            <p:cNvSpPr/>
            <p:nvPr userDrawn="1"/>
          </p:nvSpPr>
          <p:spPr>
            <a:xfrm>
              <a:off x="9252192" y="-387282"/>
              <a:ext cx="127497" cy="252000"/>
            </a:xfrm>
            <a:prstGeom prst="rect">
              <a:avLst/>
            </a:prstGeom>
            <a:solidFill>
              <a:srgbClr val="E3E4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Rectangle 4">
              <a:extLst>
                <a:ext uri="{FF2B5EF4-FFF2-40B4-BE49-F238E27FC236}">
                  <a16:creationId xmlns:a16="http://schemas.microsoft.com/office/drawing/2014/main" id="{621C4638-308B-6AD6-37C5-ED7B55BF054F}"/>
                </a:ext>
              </a:extLst>
            </p:cNvPr>
            <p:cNvSpPr/>
            <p:nvPr userDrawn="1"/>
          </p:nvSpPr>
          <p:spPr>
            <a:xfrm>
              <a:off x="9378211" y="-387282"/>
              <a:ext cx="127497" cy="252000"/>
            </a:xfrm>
            <a:prstGeom prst="rect">
              <a:avLst/>
            </a:prstGeom>
            <a:solidFill>
              <a:srgbClr val="F4F4F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Rectangle 4">
              <a:extLst>
                <a:ext uri="{FF2B5EF4-FFF2-40B4-BE49-F238E27FC236}">
                  <a16:creationId xmlns:a16="http://schemas.microsoft.com/office/drawing/2014/main" id="{36C97935-22BF-7374-FC4A-19F43FF931C2}"/>
                </a:ext>
              </a:extLst>
            </p:cNvPr>
            <p:cNvSpPr/>
            <p:nvPr userDrawn="1"/>
          </p:nvSpPr>
          <p:spPr>
            <a:xfrm>
              <a:off x="9505453" y="-387424"/>
              <a:ext cx="127497" cy="252000"/>
            </a:xfrm>
            <a:prstGeom prst="rect">
              <a:avLst/>
            </a:prstGeom>
            <a:solidFill>
              <a:srgbClr val="B2DFE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B2DFE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9" name="TextBox 108">
            <a:extLst>
              <a:ext uri="{FF2B5EF4-FFF2-40B4-BE49-F238E27FC236}">
                <a16:creationId xmlns:a16="http://schemas.microsoft.com/office/drawing/2014/main" id="{5F0FAD04-CDB7-3230-75C7-5796DB4912C3}"/>
              </a:ext>
            </a:extLst>
          </p:cNvPr>
          <p:cNvSpPr txBox="1"/>
          <p:nvPr userDrawn="1"/>
        </p:nvSpPr>
        <p:spPr>
          <a:xfrm>
            <a:off x="360000" y="430733"/>
            <a:ext cx="1115104" cy="257369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 rtlCol="0" anchor="ctr">
            <a:spAutoFit/>
          </a:bodyPr>
          <a:lstStyle/>
          <a:p>
            <a:pPr algn="dist"/>
            <a:r>
              <a:rPr lang="en-US" altLang="ko-KR" sz="1200" b="0" spc="338" baseline="0" dirty="0">
                <a:solidFill>
                  <a:srgbClr val="4E4F50"/>
                </a:solidFill>
                <a:latin typeface="Outfit SemiBold" pitchFamily="2" charset="0"/>
                <a:ea typeface="나눔스퀘어 네오 Bold" panose="00000800000000000000" pitchFamily="2" charset="-127"/>
                <a:cs typeface="TT Commons Pro Bold"/>
                <a:sym typeface="TT Commons Pro Bold"/>
              </a:rPr>
              <a:t>CONTENT</a:t>
            </a:r>
            <a:endParaRPr lang="ko-KR" altLang="en-US" sz="1200" b="0" baseline="0" dirty="0">
              <a:solidFill>
                <a:srgbClr val="4E4F50"/>
              </a:solidFill>
              <a:latin typeface="Outfit SemiBold" pitchFamily="2" charset="0"/>
              <a:ea typeface="나눔스퀘어 네오 Bold" panose="00000800000000000000" pitchFamily="2" charset="-127"/>
              <a:cs typeface="Univers for KPMG"/>
            </a:endParaRPr>
          </a:p>
        </p:txBody>
      </p:sp>
      <p:sp>
        <p:nvSpPr>
          <p:cNvPr id="110" name="TextBox 27">
            <a:extLst>
              <a:ext uri="{FF2B5EF4-FFF2-40B4-BE49-F238E27FC236}">
                <a16:creationId xmlns:a16="http://schemas.microsoft.com/office/drawing/2014/main" id="{000CCE88-DE27-BB9B-420D-399044C90EF0}"/>
              </a:ext>
            </a:extLst>
          </p:cNvPr>
          <p:cNvSpPr txBox="1"/>
          <p:nvPr userDrawn="1"/>
        </p:nvSpPr>
        <p:spPr>
          <a:xfrm>
            <a:off x="1262693" y="993654"/>
            <a:ext cx="1896353" cy="50212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935"/>
              </a:lnSpc>
            </a:pPr>
            <a:r>
              <a:rPr lang="en-US" sz="4000" b="1" dirty="0">
                <a:solidFill>
                  <a:srgbClr val="4E4F50"/>
                </a:solidFill>
                <a:latin typeface="Outfit SemiBold" pitchFamily="2" charset="0"/>
                <a:ea typeface="Noto Sans CJK KR Bold" panose="020B0800000000000000" pitchFamily="34" charset="-127"/>
                <a:cs typeface="Telegraf"/>
                <a:sym typeface="Telegraf"/>
              </a:rPr>
              <a:t>Content</a:t>
            </a:r>
          </a:p>
        </p:txBody>
      </p:sp>
      <p:sp>
        <p:nvSpPr>
          <p:cNvPr id="115" name="슬라이드 번호 개체 틀 5">
            <a:extLst>
              <a:ext uri="{FF2B5EF4-FFF2-40B4-BE49-F238E27FC236}">
                <a16:creationId xmlns:a16="http://schemas.microsoft.com/office/drawing/2014/main" id="{F3DB3EB0-42A8-EA47-2A8A-AF0F2B875BEB}"/>
              </a:ext>
            </a:extLst>
          </p:cNvPr>
          <p:cNvSpPr txBox="1">
            <a:spLocks/>
          </p:cNvSpPr>
          <p:nvPr userDrawn="1"/>
        </p:nvSpPr>
        <p:spPr>
          <a:xfrm>
            <a:off x="4880866" y="6624305"/>
            <a:ext cx="144270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ko-KR"/>
            </a:defPPr>
            <a:lvl1pPr algn="ctr" rtl="0" fontAlgn="auto" latinLnBrk="1">
              <a:spcBef>
                <a:spcPts val="0"/>
              </a:spcBef>
              <a:spcAft>
                <a:spcPts val="0"/>
              </a:spcAft>
              <a:defRPr kumimoji="0" sz="10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>
              <a:defRPr/>
            </a:pPr>
            <a:fld id="{57130410-0A2F-41CB-B223-A1672F0EE241}" type="slidenum">
              <a:rPr lang="ko-KR" altLang="en-US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defRPr/>
              </a:pPr>
              <a:t>‹#›</a:t>
            </a:fld>
            <a:endParaRPr lang="ko-KR" altLang="en-US" sz="9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16" name="직선 연결선 115">
            <a:extLst>
              <a:ext uri="{FF2B5EF4-FFF2-40B4-BE49-F238E27FC236}">
                <a16:creationId xmlns:a16="http://schemas.microsoft.com/office/drawing/2014/main" id="{99BE49CB-058C-C3C8-7EA4-35D59F1471B8}"/>
              </a:ext>
            </a:extLst>
          </p:cNvPr>
          <p:cNvCxnSpPr/>
          <p:nvPr userDrawn="1"/>
        </p:nvCxnSpPr>
        <p:spPr bwMode="auto">
          <a:xfrm>
            <a:off x="-75325" y="6480083"/>
            <a:ext cx="1005665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4E4F5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5DE5E62A-ACCC-9347-9620-4D7CB2BB5F8F}"/>
              </a:ext>
            </a:extLst>
          </p:cNvPr>
          <p:cNvSpPr/>
          <p:nvPr userDrawn="1"/>
        </p:nvSpPr>
        <p:spPr>
          <a:xfrm>
            <a:off x="381794" y="6535804"/>
            <a:ext cx="248497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b="1" i="0" err="1">
                <a:ln w="12700">
                  <a:noFill/>
                  <a:prstDash val="solid"/>
                </a:ln>
                <a:solidFill>
                  <a:schemeClr val="tx1">
                    <a:lumMod val="75000"/>
                    <a:lumOff val="25000"/>
                    <a:alpha val="70000"/>
                  </a:schemeClr>
                </a:solidFill>
                <a:latin typeface="+mj-lt"/>
              </a:rPr>
              <a:t>Vanguardlab</a:t>
            </a:r>
            <a:r>
              <a:rPr kumimoji="0" lang="en-US" altLang="ko-KR" sz="800" b="1" i="0">
                <a:ln w="12700">
                  <a:noFill/>
                  <a:prstDash val="solid"/>
                </a:ln>
                <a:solidFill>
                  <a:schemeClr val="tx1">
                    <a:lumMod val="75000"/>
                    <a:lumOff val="25000"/>
                    <a:alpha val="70000"/>
                  </a:schemeClr>
                </a:solidFill>
                <a:latin typeface="+mj-lt"/>
              </a:rPr>
              <a:t> co., Copyright </a:t>
            </a:r>
            <a:r>
              <a:rPr kumimoji="0" lang="ko-KR" altLang="en-US" sz="800" b="1" i="0">
                <a:ln w="12700">
                  <a:noFill/>
                  <a:prstDash val="solid"/>
                </a:ln>
                <a:solidFill>
                  <a:schemeClr val="tx1">
                    <a:lumMod val="75000"/>
                    <a:lumOff val="25000"/>
                    <a:alpha val="70000"/>
                  </a:schemeClr>
                </a:solidFill>
                <a:latin typeface="+mj-lt"/>
              </a:rPr>
              <a:t>ⓒ </a:t>
            </a:r>
            <a:r>
              <a:rPr kumimoji="0" lang="en-US" altLang="ko-KR" sz="800" b="1" i="0">
                <a:ln w="12700">
                  <a:noFill/>
                  <a:prstDash val="solid"/>
                </a:ln>
                <a:solidFill>
                  <a:schemeClr val="tx1">
                    <a:lumMod val="75000"/>
                    <a:lumOff val="25000"/>
                    <a:alpha val="70000"/>
                  </a:schemeClr>
                </a:solidFill>
                <a:latin typeface="+mj-lt"/>
              </a:rPr>
              <a:t>2024 All rights reserved</a:t>
            </a:r>
            <a:endParaRPr kumimoji="0" lang="ko-KR" altLang="en-US" sz="800" b="1" i="0">
              <a:ln w="12700">
                <a:noFill/>
                <a:prstDash val="solid"/>
              </a:ln>
              <a:solidFill>
                <a:schemeClr val="tx1">
                  <a:lumMod val="75000"/>
                  <a:lumOff val="25000"/>
                  <a:alpha val="70000"/>
                </a:schemeClr>
              </a:solidFill>
              <a:latin typeface="+mj-lt"/>
            </a:endParaRPr>
          </a:p>
        </p:txBody>
      </p:sp>
      <p:pic>
        <p:nvPicPr>
          <p:cNvPr id="118" name="그림 117">
            <a:extLst>
              <a:ext uri="{FF2B5EF4-FFF2-40B4-BE49-F238E27FC236}">
                <a16:creationId xmlns:a16="http://schemas.microsoft.com/office/drawing/2014/main" id="{F7D59526-F0DC-0716-C066-84406B6EDF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3539" y="6535806"/>
            <a:ext cx="1210668" cy="221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694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내용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83772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그룹 4">
            <a:extLst>
              <a:ext uri="{FF2B5EF4-FFF2-40B4-BE49-F238E27FC236}">
                <a16:creationId xmlns:a16="http://schemas.microsoft.com/office/drawing/2014/main" id="{80989EFB-3BE9-D8D8-D33A-870796FDE45F}"/>
              </a:ext>
            </a:extLst>
          </p:cNvPr>
          <p:cNvGrpSpPr/>
          <p:nvPr userDrawn="1"/>
        </p:nvGrpSpPr>
        <p:grpSpPr>
          <a:xfrm>
            <a:off x="-732055" y="202453"/>
            <a:ext cx="651308" cy="6451719"/>
            <a:chOff x="-732055" y="202451"/>
            <a:chExt cx="651308" cy="6451719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F8772A6-514C-35C8-6932-33783873008B}"/>
                </a:ext>
              </a:extLst>
            </p:cNvPr>
            <p:cNvSpPr txBox="1"/>
            <p:nvPr userDrawn="1"/>
          </p:nvSpPr>
          <p:spPr>
            <a:xfrm rot="5400000">
              <a:off x="-869914" y="880479"/>
              <a:ext cx="1451320" cy="1270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dist="12700" dir="5400000" algn="t" rotWithShape="0">
                <a:schemeClr val="tx2"/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GB" sz="700" b="0">
                  <a:solidFill>
                    <a:schemeClr val="tx2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RIMARY </a:t>
              </a:r>
              <a:r>
                <a:rPr lang="ko-KR" altLang="en-US" sz="700" b="0" err="1">
                  <a:solidFill>
                    <a:schemeClr val="tx2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700" b="0">
                  <a:solidFill>
                    <a:schemeClr val="tx2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COLOURS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DEDCA32-E70D-57D9-036C-AC434B0CCFD1}"/>
                </a:ext>
              </a:extLst>
            </p:cNvPr>
            <p:cNvSpPr txBox="1"/>
            <p:nvPr userDrawn="1"/>
          </p:nvSpPr>
          <p:spPr>
            <a:xfrm rot="5400000">
              <a:off x="-1119140" y="2625061"/>
              <a:ext cx="1949772" cy="1270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dist="12700" dir="5400000" algn="t" rotWithShape="0">
                <a:srgbClr val="483698"/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ECONDARY </a:t>
              </a:r>
              <a:r>
                <a:rPr lang="ko-KR" altLang="en-US" sz="700" b="0" err="1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COLOUR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E05F580-091F-1BAF-7400-73AD75E38EC0}"/>
                </a:ext>
              </a:extLst>
            </p:cNvPr>
            <p:cNvSpPr txBox="1"/>
            <p:nvPr userDrawn="1"/>
          </p:nvSpPr>
          <p:spPr>
            <a:xfrm rot="5400000">
              <a:off x="-1617593" y="5117323"/>
              <a:ext cx="2946677" cy="1270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dist="12700" dir="5400000" algn="t" rotWithShape="0">
                <a:srgbClr val="43B02A"/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TERTIARY </a:t>
              </a:r>
              <a:r>
                <a:rPr lang="ko-KR" altLang="en-US" sz="700" b="0" err="1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COLOURS</a:t>
              </a:r>
            </a:p>
          </p:txBody>
        </p:sp>
        <p:sp>
          <p:nvSpPr>
            <p:cNvPr id="11" name="Rectangle 12">
              <a:extLst>
                <a:ext uri="{FF2B5EF4-FFF2-40B4-BE49-F238E27FC236}">
                  <a16:creationId xmlns:a16="http://schemas.microsoft.com/office/drawing/2014/main" id="{4CD59733-F9D7-34F0-0DE6-0E5D0E7D7493}"/>
                </a:ext>
              </a:extLst>
            </p:cNvPr>
            <p:cNvSpPr/>
            <p:nvPr userDrawn="1"/>
          </p:nvSpPr>
          <p:spPr>
            <a:xfrm rot="5400000">
              <a:off x="-612940" y="318519"/>
              <a:ext cx="454415" cy="254029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300" err="1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Blu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51 / 141</a:t>
              </a:r>
            </a:p>
          </p:txBody>
        </p:sp>
        <p:sp>
          <p:nvSpPr>
            <p:cNvPr id="13" name="Rectangle 13">
              <a:extLst>
                <a:ext uri="{FF2B5EF4-FFF2-40B4-BE49-F238E27FC236}">
                  <a16:creationId xmlns:a16="http://schemas.microsoft.com/office/drawing/2014/main" id="{CA3063E5-551E-480B-8210-E102C175CF8B}"/>
                </a:ext>
              </a:extLst>
            </p:cNvPr>
            <p:cNvSpPr/>
            <p:nvPr userDrawn="1"/>
          </p:nvSpPr>
          <p:spPr>
            <a:xfrm rot="5400000">
              <a:off x="-612940" y="816972"/>
              <a:ext cx="454415" cy="254029"/>
            </a:xfrm>
            <a:prstGeom prst="rect">
              <a:avLst/>
            </a:prstGeom>
            <a:solidFill>
              <a:srgbClr val="005E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edium Blu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94 / 184</a:t>
              </a:r>
            </a:p>
          </p:txBody>
        </p:sp>
        <p:sp>
          <p:nvSpPr>
            <p:cNvPr id="14" name="Rectangle 14">
              <a:extLst>
                <a:ext uri="{FF2B5EF4-FFF2-40B4-BE49-F238E27FC236}">
                  <a16:creationId xmlns:a16="http://schemas.microsoft.com/office/drawing/2014/main" id="{A757D9BD-3D6B-71EB-7EBA-54BEDA6B9C49}"/>
                </a:ext>
              </a:extLst>
            </p:cNvPr>
            <p:cNvSpPr/>
            <p:nvPr userDrawn="1"/>
          </p:nvSpPr>
          <p:spPr>
            <a:xfrm rot="5400000">
              <a:off x="-612940" y="1315424"/>
              <a:ext cx="454415" cy="25402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ght Blu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145 / 218</a:t>
              </a:r>
            </a:p>
          </p:txBody>
        </p:sp>
        <p:sp>
          <p:nvSpPr>
            <p:cNvPr id="15" name="Rectangle 15">
              <a:extLst>
                <a:ext uri="{FF2B5EF4-FFF2-40B4-BE49-F238E27FC236}">
                  <a16:creationId xmlns:a16="http://schemas.microsoft.com/office/drawing/2014/main" id="{E614C23D-A5BB-AF51-8ED7-968CEB92265B}"/>
                </a:ext>
              </a:extLst>
            </p:cNvPr>
            <p:cNvSpPr/>
            <p:nvPr userDrawn="1"/>
          </p:nvSpPr>
          <p:spPr>
            <a:xfrm rot="5400000">
              <a:off x="-612940" y="1813877"/>
              <a:ext cx="454415" cy="254029"/>
            </a:xfrm>
            <a:prstGeom prst="rect">
              <a:avLst/>
            </a:prstGeom>
            <a:solidFill>
              <a:srgbClr val="4836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Violet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72 / 54 / 152</a:t>
              </a:r>
            </a:p>
          </p:txBody>
        </p:sp>
        <p:sp>
          <p:nvSpPr>
            <p:cNvPr id="16" name="Rectangle 16">
              <a:extLst>
                <a:ext uri="{FF2B5EF4-FFF2-40B4-BE49-F238E27FC236}">
                  <a16:creationId xmlns:a16="http://schemas.microsoft.com/office/drawing/2014/main" id="{D19A48B9-FA3B-D68E-5A78-6AC6345905B6}"/>
                </a:ext>
              </a:extLst>
            </p:cNvPr>
            <p:cNvSpPr/>
            <p:nvPr userDrawn="1"/>
          </p:nvSpPr>
          <p:spPr>
            <a:xfrm rot="5400000">
              <a:off x="-612940" y="2312329"/>
              <a:ext cx="454415" cy="254029"/>
            </a:xfrm>
            <a:prstGeom prst="rect">
              <a:avLst/>
            </a:prstGeom>
            <a:solidFill>
              <a:srgbClr val="470A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urpl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71 / 10 / 104</a:t>
              </a:r>
            </a:p>
          </p:txBody>
        </p:sp>
        <p:sp>
          <p:nvSpPr>
            <p:cNvPr id="17" name="Rectangle 17">
              <a:extLst>
                <a:ext uri="{FF2B5EF4-FFF2-40B4-BE49-F238E27FC236}">
                  <a16:creationId xmlns:a16="http://schemas.microsoft.com/office/drawing/2014/main" id="{12AE23BE-9F3E-BF63-6EE6-A81D5B95CD97}"/>
                </a:ext>
              </a:extLst>
            </p:cNvPr>
            <p:cNvSpPr/>
            <p:nvPr userDrawn="1"/>
          </p:nvSpPr>
          <p:spPr>
            <a:xfrm rot="5400000">
              <a:off x="-612940" y="2810781"/>
              <a:ext cx="454415" cy="254029"/>
            </a:xfrm>
            <a:prstGeom prst="rect">
              <a:avLst/>
            </a:prstGeom>
            <a:solidFill>
              <a:srgbClr val="6D20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ght Purpl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09 / 32 / 119</a:t>
              </a:r>
            </a:p>
          </p:txBody>
        </p:sp>
        <p:sp>
          <p:nvSpPr>
            <p:cNvPr id="18" name="Rectangle 18">
              <a:extLst>
                <a:ext uri="{FF2B5EF4-FFF2-40B4-BE49-F238E27FC236}">
                  <a16:creationId xmlns:a16="http://schemas.microsoft.com/office/drawing/2014/main" id="{957124A5-BE58-C0D2-DAF7-B5FA0FB70572}"/>
                </a:ext>
              </a:extLst>
            </p:cNvPr>
            <p:cNvSpPr/>
            <p:nvPr userDrawn="1"/>
          </p:nvSpPr>
          <p:spPr>
            <a:xfrm rot="5400000">
              <a:off x="-612940" y="3309234"/>
              <a:ext cx="454415" cy="254029"/>
            </a:xfrm>
            <a:prstGeom prst="rect">
              <a:avLst/>
            </a:prstGeom>
            <a:solidFill>
              <a:srgbClr val="00A3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Green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163 / 161</a:t>
              </a:r>
            </a:p>
          </p:txBody>
        </p:sp>
        <p:sp>
          <p:nvSpPr>
            <p:cNvPr id="19" name="Rectangle 19">
              <a:extLst>
                <a:ext uri="{FF2B5EF4-FFF2-40B4-BE49-F238E27FC236}">
                  <a16:creationId xmlns:a16="http://schemas.microsoft.com/office/drawing/2014/main" id="{E0F7B186-5BA4-3245-719E-7F2C63192DF4}"/>
                </a:ext>
              </a:extLst>
            </p:cNvPr>
            <p:cNvSpPr/>
            <p:nvPr userDrawn="1"/>
          </p:nvSpPr>
          <p:spPr>
            <a:xfrm rot="5400000">
              <a:off x="-612940" y="3807686"/>
              <a:ext cx="454415" cy="254029"/>
            </a:xfrm>
            <a:prstGeom prst="rect">
              <a:avLst/>
            </a:prstGeom>
            <a:solidFill>
              <a:srgbClr val="009A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rk Green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154 / 68</a:t>
              </a:r>
            </a:p>
          </p:txBody>
        </p:sp>
        <p:sp>
          <p:nvSpPr>
            <p:cNvPr id="20" name="Rectangle 20">
              <a:extLst>
                <a:ext uri="{FF2B5EF4-FFF2-40B4-BE49-F238E27FC236}">
                  <a16:creationId xmlns:a16="http://schemas.microsoft.com/office/drawing/2014/main" id="{E52FF749-723D-A45D-AF3E-62A558623983}"/>
                </a:ext>
              </a:extLst>
            </p:cNvPr>
            <p:cNvSpPr/>
            <p:nvPr userDrawn="1"/>
          </p:nvSpPr>
          <p:spPr>
            <a:xfrm rot="5400000">
              <a:off x="-612940" y="4306139"/>
              <a:ext cx="454415" cy="254029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ght Green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67 / 176 / 42</a:t>
              </a:r>
            </a:p>
          </p:txBody>
        </p:sp>
        <p:sp>
          <p:nvSpPr>
            <p:cNvPr id="21" name="Rectangle 21">
              <a:extLst>
                <a:ext uri="{FF2B5EF4-FFF2-40B4-BE49-F238E27FC236}">
                  <a16:creationId xmlns:a16="http://schemas.microsoft.com/office/drawing/2014/main" id="{F5DA764D-964A-44A9-3755-86EE5EECB626}"/>
                </a:ext>
              </a:extLst>
            </p:cNvPr>
            <p:cNvSpPr/>
            <p:nvPr userDrawn="1"/>
          </p:nvSpPr>
          <p:spPr>
            <a:xfrm rot="5400000">
              <a:off x="-612940" y="4804591"/>
              <a:ext cx="454415" cy="254029"/>
            </a:xfrm>
            <a:prstGeom prst="rect">
              <a:avLst/>
            </a:prstGeom>
            <a:solidFill>
              <a:srgbClr val="EAA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Yellow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34 / 170 / 0</a:t>
              </a:r>
            </a:p>
          </p:txBody>
        </p:sp>
        <p:sp>
          <p:nvSpPr>
            <p:cNvPr id="24" name="Rectangle 22">
              <a:extLst>
                <a:ext uri="{FF2B5EF4-FFF2-40B4-BE49-F238E27FC236}">
                  <a16:creationId xmlns:a16="http://schemas.microsoft.com/office/drawing/2014/main" id="{F8A8622E-6005-68E8-D89D-2E46A856BB3C}"/>
                </a:ext>
              </a:extLst>
            </p:cNvPr>
            <p:cNvSpPr/>
            <p:nvPr userDrawn="1"/>
          </p:nvSpPr>
          <p:spPr>
            <a:xfrm rot="5400000">
              <a:off x="-612940" y="5303043"/>
              <a:ext cx="454415" cy="254029"/>
            </a:xfrm>
            <a:prstGeom prst="rect">
              <a:avLst/>
            </a:prstGeom>
            <a:solidFill>
              <a:srgbClr val="F68D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Orang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46 / 141 / 46</a:t>
              </a:r>
            </a:p>
          </p:txBody>
        </p:sp>
        <p:sp>
          <p:nvSpPr>
            <p:cNvPr id="25" name="Rectangle 23">
              <a:extLst>
                <a:ext uri="{FF2B5EF4-FFF2-40B4-BE49-F238E27FC236}">
                  <a16:creationId xmlns:a16="http://schemas.microsoft.com/office/drawing/2014/main" id="{0297EE63-76E0-770A-ECA4-2A12B92A2D9C}"/>
                </a:ext>
              </a:extLst>
            </p:cNvPr>
            <p:cNvSpPr/>
            <p:nvPr userDrawn="1"/>
          </p:nvSpPr>
          <p:spPr>
            <a:xfrm rot="5400000">
              <a:off x="-612940" y="5801496"/>
              <a:ext cx="454415" cy="254029"/>
            </a:xfrm>
            <a:prstGeom prst="rect">
              <a:avLst/>
            </a:prstGeom>
            <a:solidFill>
              <a:srgbClr val="BC2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ed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88 / 32 / 75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F3D8858-F80F-8A8E-05BC-E1B0820FD864}"/>
                </a:ext>
              </a:extLst>
            </p:cNvPr>
            <p:cNvSpPr/>
            <p:nvPr userDrawn="1"/>
          </p:nvSpPr>
          <p:spPr>
            <a:xfrm rot="5400000">
              <a:off x="-612940" y="6299948"/>
              <a:ext cx="454415" cy="254029"/>
            </a:xfrm>
            <a:prstGeom prst="rect">
              <a:avLst/>
            </a:prstGeom>
            <a:solidFill>
              <a:srgbClr val="C600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ink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98 / 0 / 126</a:t>
              </a:r>
            </a:p>
          </p:txBody>
        </p:sp>
        <p:sp>
          <p:nvSpPr>
            <p:cNvPr id="27" name="Rectangle 5">
              <a:extLst>
                <a:ext uri="{FF2B5EF4-FFF2-40B4-BE49-F238E27FC236}">
                  <a16:creationId xmlns:a16="http://schemas.microsoft.com/office/drawing/2014/main" id="{24B5A82F-752F-B414-4346-39167B5155D6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75526"/>
              <a:ext cx="143082" cy="142065"/>
            </a:xfrm>
            <a:prstGeom prst="rect">
              <a:avLst/>
            </a:prstGeom>
            <a:solidFill>
              <a:srgbClr val="4066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" name="Rectangle 36">
              <a:extLst>
                <a:ext uri="{FF2B5EF4-FFF2-40B4-BE49-F238E27FC236}">
                  <a16:creationId xmlns:a16="http://schemas.microsoft.com/office/drawing/2014/main" id="{574B5FA7-A199-DA99-A59E-EFE92AB20A56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548093"/>
              <a:ext cx="143082" cy="142065"/>
            </a:xfrm>
            <a:prstGeom prst="rect">
              <a:avLst/>
            </a:prstGeom>
            <a:solidFill>
              <a:srgbClr val="8099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9" name="Rectangle 31">
              <a:extLst>
                <a:ext uri="{FF2B5EF4-FFF2-40B4-BE49-F238E27FC236}">
                  <a16:creationId xmlns:a16="http://schemas.microsoft.com/office/drawing/2014/main" id="{E32F2F12-AF87-3750-3593-9F1B1C2D287D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720659"/>
              <a:ext cx="143082" cy="142065"/>
            </a:xfrm>
            <a:prstGeom prst="rect">
              <a:avLst/>
            </a:prstGeom>
            <a:solidFill>
              <a:srgbClr val="BFCC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0" name="Rectangle 6">
              <a:extLst>
                <a:ext uri="{FF2B5EF4-FFF2-40B4-BE49-F238E27FC236}">
                  <a16:creationId xmlns:a16="http://schemas.microsoft.com/office/drawing/2014/main" id="{4E75177B-11B4-DD1F-34CA-5281FD9A1902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446322"/>
              <a:ext cx="143082" cy="142065"/>
            </a:xfrm>
            <a:prstGeom prst="rect">
              <a:avLst/>
            </a:prstGeom>
            <a:solidFill>
              <a:srgbClr val="7668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1" name="Rectangle 19">
              <a:extLst>
                <a:ext uri="{FF2B5EF4-FFF2-40B4-BE49-F238E27FC236}">
                  <a16:creationId xmlns:a16="http://schemas.microsoft.com/office/drawing/2014/main" id="{69279FAE-4A84-B916-23CE-778EDA6F0EBE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618888"/>
              <a:ext cx="143082" cy="142065"/>
            </a:xfrm>
            <a:prstGeom prst="rect">
              <a:avLst/>
            </a:prstGeom>
            <a:solidFill>
              <a:srgbClr val="A39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2" name="Rectangle 32">
              <a:extLst>
                <a:ext uri="{FF2B5EF4-FFF2-40B4-BE49-F238E27FC236}">
                  <a16:creationId xmlns:a16="http://schemas.microsoft.com/office/drawing/2014/main" id="{1C5EC34F-1E53-0D02-F61C-346604206ABE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791454"/>
              <a:ext cx="143082" cy="142065"/>
            </a:xfrm>
            <a:prstGeom prst="rect">
              <a:avLst/>
            </a:prstGeom>
            <a:solidFill>
              <a:srgbClr val="D1CD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477876CD-CF80-3B4E-F414-489298390C8A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898555"/>
              <a:ext cx="143082" cy="142065"/>
            </a:xfrm>
            <a:prstGeom prst="rect">
              <a:avLst/>
            </a:prstGeom>
            <a:solidFill>
              <a:srgbClr val="40BA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4" name="Rectangle 20">
              <a:extLst>
                <a:ext uri="{FF2B5EF4-FFF2-40B4-BE49-F238E27FC236}">
                  <a16:creationId xmlns:a16="http://schemas.microsoft.com/office/drawing/2014/main" id="{DD8B5930-61E8-B588-B8AF-8479C32DBE49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071121"/>
              <a:ext cx="143082" cy="142065"/>
            </a:xfrm>
            <a:prstGeom prst="rect">
              <a:avLst/>
            </a:prstGeom>
            <a:solidFill>
              <a:srgbClr val="80D1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5" name="Rectangle 33">
              <a:extLst>
                <a:ext uri="{FF2B5EF4-FFF2-40B4-BE49-F238E27FC236}">
                  <a16:creationId xmlns:a16="http://schemas.microsoft.com/office/drawing/2014/main" id="{C5BD39BB-05A7-A375-540B-1D3C8E735B9A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243687"/>
              <a:ext cx="143082" cy="142065"/>
            </a:xfrm>
            <a:prstGeom prst="rect">
              <a:avLst/>
            </a:prstGeom>
            <a:solidFill>
              <a:srgbClr val="BF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6" name="Rectangle 8">
              <a:extLst>
                <a:ext uri="{FF2B5EF4-FFF2-40B4-BE49-F238E27FC236}">
                  <a16:creationId xmlns:a16="http://schemas.microsoft.com/office/drawing/2014/main" id="{D77DECAC-9B56-C614-371C-28FA5C804013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969350"/>
              <a:ext cx="143082" cy="142065"/>
            </a:xfrm>
            <a:prstGeom prst="rect">
              <a:avLst/>
            </a:prstGeom>
            <a:solidFill>
              <a:srgbClr val="EFBF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7" name="Rectangle 21">
              <a:extLst>
                <a:ext uri="{FF2B5EF4-FFF2-40B4-BE49-F238E27FC236}">
                  <a16:creationId xmlns:a16="http://schemas.microsoft.com/office/drawing/2014/main" id="{185DA447-9E72-6882-ADDB-0C25799DDF83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6141916"/>
              <a:ext cx="143082" cy="142065"/>
            </a:xfrm>
            <a:prstGeom prst="rect">
              <a:avLst/>
            </a:prstGeom>
            <a:solidFill>
              <a:srgbClr val="F5D4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8" name="Rectangle 34">
              <a:extLst>
                <a:ext uri="{FF2B5EF4-FFF2-40B4-BE49-F238E27FC236}">
                  <a16:creationId xmlns:a16="http://schemas.microsoft.com/office/drawing/2014/main" id="{E47DAE19-F34D-B6ED-12C5-C7A5198B7AA6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6314483"/>
              <a:ext cx="143082" cy="142065"/>
            </a:xfrm>
            <a:prstGeom prst="rect">
              <a:avLst/>
            </a:prstGeom>
            <a:solidFill>
              <a:srgbClr val="FAEA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9" name="Rectangle 9">
              <a:extLst>
                <a:ext uri="{FF2B5EF4-FFF2-40B4-BE49-F238E27FC236}">
                  <a16:creationId xmlns:a16="http://schemas.microsoft.com/office/drawing/2014/main" id="{D8BB77C9-0789-C262-FAB4-57F64271667C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756056"/>
              <a:ext cx="143082" cy="142065"/>
            </a:xfrm>
            <a:prstGeom prst="rect">
              <a:avLst/>
            </a:prstGeom>
            <a:solidFill>
              <a:srgbClr val="40AC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0" name="Rectangle 22">
              <a:extLst>
                <a:ext uri="{FF2B5EF4-FFF2-40B4-BE49-F238E27FC236}">
                  <a16:creationId xmlns:a16="http://schemas.microsoft.com/office/drawing/2014/main" id="{52B0DC0C-EAEE-729D-16E8-5E0465B1FDC0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928623"/>
              <a:ext cx="143082" cy="142065"/>
            </a:xfrm>
            <a:prstGeom prst="rect">
              <a:avLst/>
            </a:prstGeom>
            <a:solidFill>
              <a:srgbClr val="80C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8AF8529B-4B70-39B2-6642-1453E8205D8E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101189"/>
              <a:ext cx="143082" cy="142065"/>
            </a:xfrm>
            <a:prstGeom prst="rect">
              <a:avLst/>
            </a:prstGeom>
            <a:solidFill>
              <a:srgbClr val="BFE3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2" name="Rectangle 11">
              <a:extLst>
                <a:ext uri="{FF2B5EF4-FFF2-40B4-BE49-F238E27FC236}">
                  <a16:creationId xmlns:a16="http://schemas.microsoft.com/office/drawing/2014/main" id="{F0379224-F950-53AF-46F7-26AB3A3CF7B7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279085"/>
              <a:ext cx="143082" cy="142065"/>
            </a:xfrm>
            <a:prstGeom prst="rect">
              <a:avLst/>
            </a:prstGeom>
            <a:solidFill>
              <a:srgbClr val="72B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3" name="Rectangle 24">
              <a:extLst>
                <a:ext uri="{FF2B5EF4-FFF2-40B4-BE49-F238E27FC236}">
                  <a16:creationId xmlns:a16="http://schemas.microsoft.com/office/drawing/2014/main" id="{227533F0-83B3-59CE-5D2E-EB6AB72062B5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451651"/>
              <a:ext cx="143082" cy="142065"/>
            </a:xfrm>
            <a:prstGeom prst="rect">
              <a:avLst/>
            </a:prstGeom>
            <a:solidFill>
              <a:srgbClr val="A1D3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4" name="Rectangle 55">
              <a:extLst>
                <a:ext uri="{FF2B5EF4-FFF2-40B4-BE49-F238E27FC236}">
                  <a16:creationId xmlns:a16="http://schemas.microsoft.com/office/drawing/2014/main" id="{73269F47-9F89-5365-AB9E-BC58EA94C65F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624218"/>
              <a:ext cx="143082" cy="142065"/>
            </a:xfrm>
            <a:prstGeom prst="rect">
              <a:avLst/>
            </a:prstGeom>
            <a:solidFill>
              <a:srgbClr val="D0E9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5" name="Rectangle 13">
              <a:extLst>
                <a:ext uri="{FF2B5EF4-FFF2-40B4-BE49-F238E27FC236}">
                  <a16:creationId xmlns:a16="http://schemas.microsoft.com/office/drawing/2014/main" id="{2F46E519-F75E-E0F9-985C-6A8D0F9CB1F7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065791"/>
              <a:ext cx="143082" cy="142065"/>
            </a:xfrm>
            <a:prstGeom prst="rect">
              <a:avLst/>
            </a:prstGeom>
            <a:solidFill>
              <a:srgbClr val="4086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6" name="Rectangle 26">
              <a:extLst>
                <a:ext uri="{FF2B5EF4-FFF2-40B4-BE49-F238E27FC236}">
                  <a16:creationId xmlns:a16="http://schemas.microsoft.com/office/drawing/2014/main" id="{CA552A99-F32D-B0D6-9796-1404B4EF69E2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238358"/>
              <a:ext cx="143082" cy="142065"/>
            </a:xfrm>
            <a:prstGeom prst="rect">
              <a:avLst/>
            </a:prstGeom>
            <a:solidFill>
              <a:srgbClr val="80AE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7" name="Rectangle 39">
              <a:extLst>
                <a:ext uri="{FF2B5EF4-FFF2-40B4-BE49-F238E27FC236}">
                  <a16:creationId xmlns:a16="http://schemas.microsoft.com/office/drawing/2014/main" id="{B315D26E-557D-F737-E5DD-2DD9225E40CA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410924"/>
              <a:ext cx="143082" cy="142065"/>
            </a:xfrm>
            <a:prstGeom prst="rect">
              <a:avLst/>
            </a:prstGeom>
            <a:solidFill>
              <a:srgbClr val="BFD7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8" name="Rectangle 14">
              <a:extLst>
                <a:ext uri="{FF2B5EF4-FFF2-40B4-BE49-F238E27FC236}">
                  <a16:creationId xmlns:a16="http://schemas.microsoft.com/office/drawing/2014/main" id="{F276317F-4A43-ABDE-F9CF-3615BA6F9B0E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136587"/>
              <a:ext cx="143082" cy="142065"/>
            </a:xfrm>
            <a:prstGeom prst="rect">
              <a:avLst/>
            </a:prstGeom>
            <a:solidFill>
              <a:srgbClr val="7747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9" name="Rectangle 27">
              <a:extLst>
                <a:ext uri="{FF2B5EF4-FFF2-40B4-BE49-F238E27FC236}">
                  <a16:creationId xmlns:a16="http://schemas.microsoft.com/office/drawing/2014/main" id="{CAD97708-A08E-7C1D-9311-98254647F229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309153"/>
              <a:ext cx="143082" cy="142065"/>
            </a:xfrm>
            <a:prstGeom prst="rect">
              <a:avLst/>
            </a:prstGeom>
            <a:solidFill>
              <a:srgbClr val="A485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0" name="Rectangle 40">
              <a:extLst>
                <a:ext uri="{FF2B5EF4-FFF2-40B4-BE49-F238E27FC236}">
                  <a16:creationId xmlns:a16="http://schemas.microsoft.com/office/drawing/2014/main" id="{71BF0D25-6943-6F50-3AED-4D384C076BDF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481719"/>
              <a:ext cx="143082" cy="142065"/>
            </a:xfrm>
            <a:prstGeom prst="rect">
              <a:avLst/>
            </a:prstGeom>
            <a:solidFill>
              <a:srgbClr val="D2C2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1" name="Rectangle 15">
              <a:extLst>
                <a:ext uri="{FF2B5EF4-FFF2-40B4-BE49-F238E27FC236}">
                  <a16:creationId xmlns:a16="http://schemas.microsoft.com/office/drawing/2014/main" id="{2EF040A1-B72E-8D42-665E-93C23C75A889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588820"/>
              <a:ext cx="143082" cy="142065"/>
            </a:xfrm>
            <a:prstGeom prst="rect">
              <a:avLst/>
            </a:prstGeom>
            <a:solidFill>
              <a:srgbClr val="40B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2" name="Rectangle 28">
              <a:extLst>
                <a:ext uri="{FF2B5EF4-FFF2-40B4-BE49-F238E27FC236}">
                  <a16:creationId xmlns:a16="http://schemas.microsoft.com/office/drawing/2014/main" id="{E7873F44-5F9B-718C-FCDD-53CAAD190EB8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761386"/>
              <a:ext cx="143082" cy="142065"/>
            </a:xfrm>
            <a:prstGeom prst="rect">
              <a:avLst/>
            </a:prstGeom>
            <a:solidFill>
              <a:srgbClr val="80CD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3" name="Rectangle 41">
              <a:extLst>
                <a:ext uri="{FF2B5EF4-FFF2-40B4-BE49-F238E27FC236}">
                  <a16:creationId xmlns:a16="http://schemas.microsoft.com/office/drawing/2014/main" id="{505AEAC4-FAF3-E924-FFF0-C933AE1B9F1D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933953"/>
              <a:ext cx="143082" cy="142065"/>
            </a:xfrm>
            <a:prstGeom prst="rect">
              <a:avLst/>
            </a:prstGeom>
            <a:solidFill>
              <a:srgbClr val="BFE6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4" name="Rectangle 5">
              <a:extLst>
                <a:ext uri="{FF2B5EF4-FFF2-40B4-BE49-F238E27FC236}">
                  <a16:creationId xmlns:a16="http://schemas.microsoft.com/office/drawing/2014/main" id="{B9BF2829-FBCF-FE47-C591-425CD1F7484A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02959"/>
              <a:ext cx="143082" cy="142065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5" name="Rectangle 6">
              <a:extLst>
                <a:ext uri="{FF2B5EF4-FFF2-40B4-BE49-F238E27FC236}">
                  <a16:creationId xmlns:a16="http://schemas.microsoft.com/office/drawing/2014/main" id="{2C764C79-9001-0F21-85E1-D4EFB19BCAA2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273755"/>
              <a:ext cx="143082" cy="142065"/>
            </a:xfrm>
            <a:prstGeom prst="rect">
              <a:avLst/>
            </a:prstGeom>
            <a:solidFill>
              <a:srgbClr val="483698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6" name="Rectangle 7">
              <a:extLst>
                <a:ext uri="{FF2B5EF4-FFF2-40B4-BE49-F238E27FC236}">
                  <a16:creationId xmlns:a16="http://schemas.microsoft.com/office/drawing/2014/main" id="{5C2C5A35-4576-977A-6F99-9F2B4B0EC826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725989"/>
              <a:ext cx="143082" cy="142065"/>
            </a:xfrm>
            <a:prstGeom prst="rect">
              <a:avLst/>
            </a:prstGeom>
            <a:solidFill>
              <a:srgbClr val="00A3A1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7" name="Rectangle 8">
              <a:extLst>
                <a:ext uri="{FF2B5EF4-FFF2-40B4-BE49-F238E27FC236}">
                  <a16:creationId xmlns:a16="http://schemas.microsoft.com/office/drawing/2014/main" id="{917E5048-CF84-0DDD-47CE-277F756C7F42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796784"/>
              <a:ext cx="143082" cy="142065"/>
            </a:xfrm>
            <a:prstGeom prst="rect">
              <a:avLst/>
            </a:prstGeom>
            <a:solidFill>
              <a:srgbClr val="EAAA00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8" name="Rectangle 9">
              <a:extLst>
                <a:ext uri="{FF2B5EF4-FFF2-40B4-BE49-F238E27FC236}">
                  <a16:creationId xmlns:a16="http://schemas.microsoft.com/office/drawing/2014/main" id="{EE85B471-1328-2A82-8BEE-284B54D03859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583490"/>
              <a:ext cx="143082" cy="142065"/>
            </a:xfrm>
            <a:prstGeom prst="rect">
              <a:avLst/>
            </a:prstGeom>
            <a:solidFill>
              <a:srgbClr val="0091DA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9" name="Rectangle 11">
              <a:extLst>
                <a:ext uri="{FF2B5EF4-FFF2-40B4-BE49-F238E27FC236}">
                  <a16:creationId xmlns:a16="http://schemas.microsoft.com/office/drawing/2014/main" id="{015C6ADE-BE64-DD5B-728D-1A896FB8B398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106519"/>
              <a:ext cx="143082" cy="14206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0" name="Rectangle 13">
              <a:extLst>
                <a:ext uri="{FF2B5EF4-FFF2-40B4-BE49-F238E27FC236}">
                  <a16:creationId xmlns:a16="http://schemas.microsoft.com/office/drawing/2014/main" id="{ECCBFB07-88A0-986B-8B0E-DC35691B6745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893225"/>
              <a:ext cx="143082" cy="142065"/>
            </a:xfrm>
            <a:prstGeom prst="rect">
              <a:avLst/>
            </a:prstGeom>
            <a:solidFill>
              <a:srgbClr val="005EB8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1" name="Rectangle 14">
              <a:extLst>
                <a:ext uri="{FF2B5EF4-FFF2-40B4-BE49-F238E27FC236}">
                  <a16:creationId xmlns:a16="http://schemas.microsoft.com/office/drawing/2014/main" id="{70B552A8-2820-05B3-5B7A-C623D6FBF28A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964020"/>
              <a:ext cx="143082" cy="142065"/>
            </a:xfrm>
            <a:prstGeom prst="rect">
              <a:avLst/>
            </a:prstGeom>
            <a:solidFill>
              <a:srgbClr val="470A68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2" name="Rectangle 15">
              <a:extLst>
                <a:ext uri="{FF2B5EF4-FFF2-40B4-BE49-F238E27FC236}">
                  <a16:creationId xmlns:a16="http://schemas.microsoft.com/office/drawing/2014/main" id="{24FD5D5D-1000-8554-483B-F2B4F2C92633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416254"/>
              <a:ext cx="143082" cy="142065"/>
            </a:xfrm>
            <a:prstGeom prst="rect">
              <a:avLst/>
            </a:prstGeom>
            <a:solidFill>
              <a:srgbClr val="009A44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4" name="그룹 3">
            <a:extLst>
              <a:ext uri="{FF2B5EF4-FFF2-40B4-BE49-F238E27FC236}">
                <a16:creationId xmlns:a16="http://schemas.microsoft.com/office/drawing/2014/main" id="{5B9F5FE4-ECBB-4316-C346-7C79D0EE3E61}"/>
              </a:ext>
            </a:extLst>
          </p:cNvPr>
          <p:cNvGrpSpPr/>
          <p:nvPr userDrawn="1"/>
        </p:nvGrpSpPr>
        <p:grpSpPr>
          <a:xfrm>
            <a:off x="-1686237" y="249507"/>
            <a:ext cx="905097" cy="1763289"/>
            <a:chOff x="-2426585" y="2628263"/>
            <a:chExt cx="1763779" cy="1763289"/>
          </a:xfrm>
        </p:grpSpPr>
        <p:sp>
          <p:nvSpPr>
            <p:cNvPr id="8" name="Rectangle 3">
              <a:extLst>
                <a:ext uri="{FF2B5EF4-FFF2-40B4-BE49-F238E27FC236}">
                  <a16:creationId xmlns:a16="http://schemas.microsoft.com/office/drawing/2014/main" id="{5211A065-3C13-CD81-EC0D-3CA86AD8586E}"/>
                </a:ext>
              </a:extLst>
            </p:cNvPr>
            <p:cNvSpPr/>
            <p:nvPr/>
          </p:nvSpPr>
          <p:spPr>
            <a:xfrm>
              <a:off x="-2426585" y="2880263"/>
              <a:ext cx="763000" cy="252000"/>
            </a:xfrm>
            <a:prstGeom prst="rect">
              <a:avLst/>
            </a:prstGeom>
            <a:solidFill>
              <a:srgbClr val="1E49E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 / 73 / 226</a:t>
              </a:r>
            </a:p>
          </p:txBody>
        </p:sp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30BD6EF6-9D71-AAE0-9A5C-189871E208D5}"/>
                </a:ext>
              </a:extLst>
            </p:cNvPr>
            <p:cNvSpPr/>
            <p:nvPr/>
          </p:nvSpPr>
          <p:spPr>
            <a:xfrm>
              <a:off x="-2426585" y="2628405"/>
              <a:ext cx="763000" cy="252000"/>
            </a:xfrm>
            <a:prstGeom prst="rect">
              <a:avLst/>
            </a:prstGeom>
            <a:solidFill>
              <a:srgbClr val="00338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 / 51 / 141</a:t>
              </a:r>
            </a:p>
          </p:txBody>
        </p:sp>
        <p:sp>
          <p:nvSpPr>
            <p:cNvPr id="12" name="Rectangle 5">
              <a:extLst>
                <a:ext uri="{FF2B5EF4-FFF2-40B4-BE49-F238E27FC236}">
                  <a16:creationId xmlns:a16="http://schemas.microsoft.com/office/drawing/2014/main" id="{0898D876-41F3-53C0-C8A9-49CFAE40D95C}"/>
                </a:ext>
              </a:extLst>
            </p:cNvPr>
            <p:cNvSpPr/>
            <p:nvPr/>
          </p:nvSpPr>
          <p:spPr>
            <a:xfrm>
              <a:off x="-2426585" y="3132121"/>
              <a:ext cx="763000" cy="252000"/>
            </a:xfrm>
            <a:prstGeom prst="rect">
              <a:avLst/>
            </a:prstGeom>
            <a:solidFill>
              <a:srgbClr val="0C233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 / 35 / 60</a:t>
              </a:r>
            </a:p>
          </p:txBody>
        </p:sp>
        <p:sp>
          <p:nvSpPr>
            <p:cNvPr id="63" name="Rectangle 6">
              <a:extLst>
                <a:ext uri="{FF2B5EF4-FFF2-40B4-BE49-F238E27FC236}">
                  <a16:creationId xmlns:a16="http://schemas.microsoft.com/office/drawing/2014/main" id="{A6B32313-F902-20D9-7212-8889D1509E3D}"/>
                </a:ext>
              </a:extLst>
            </p:cNvPr>
            <p:cNvSpPr/>
            <p:nvPr/>
          </p:nvSpPr>
          <p:spPr>
            <a:xfrm>
              <a:off x="-2426585" y="3383979"/>
              <a:ext cx="763000" cy="252000"/>
            </a:xfrm>
            <a:prstGeom prst="rect">
              <a:avLst/>
            </a:prstGeom>
            <a:solidFill>
              <a:srgbClr val="ACEA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72 / 234 / 255</a:t>
              </a:r>
            </a:p>
          </p:txBody>
        </p:sp>
        <p:sp>
          <p:nvSpPr>
            <p:cNvPr id="64" name="Rectangle 19">
              <a:extLst>
                <a:ext uri="{FF2B5EF4-FFF2-40B4-BE49-F238E27FC236}">
                  <a16:creationId xmlns:a16="http://schemas.microsoft.com/office/drawing/2014/main" id="{B38831B9-C0F6-D7AB-7356-6DF032C194E6}"/>
                </a:ext>
              </a:extLst>
            </p:cNvPr>
            <p:cNvSpPr/>
            <p:nvPr/>
          </p:nvSpPr>
          <p:spPr>
            <a:xfrm>
              <a:off x="-2426585" y="3635837"/>
              <a:ext cx="763000" cy="252000"/>
            </a:xfrm>
            <a:prstGeom prst="rect">
              <a:avLst/>
            </a:prstGeom>
            <a:solidFill>
              <a:srgbClr val="00B8F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 / 184 / 245</a:t>
              </a:r>
            </a:p>
          </p:txBody>
        </p:sp>
        <p:sp>
          <p:nvSpPr>
            <p:cNvPr id="65" name="Rectangle 20">
              <a:extLst>
                <a:ext uri="{FF2B5EF4-FFF2-40B4-BE49-F238E27FC236}">
                  <a16:creationId xmlns:a16="http://schemas.microsoft.com/office/drawing/2014/main" id="{0C51E2CC-A9B7-14A7-9EAF-C0AC524C117E}"/>
                </a:ext>
              </a:extLst>
            </p:cNvPr>
            <p:cNvSpPr/>
            <p:nvPr/>
          </p:nvSpPr>
          <p:spPr>
            <a:xfrm>
              <a:off x="-2426585" y="3887695"/>
              <a:ext cx="763000" cy="252000"/>
            </a:xfrm>
            <a:prstGeom prst="rect">
              <a:avLst/>
            </a:prstGeom>
            <a:solidFill>
              <a:srgbClr val="7213E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14 / 19 / 234</a:t>
              </a:r>
            </a:p>
          </p:txBody>
        </p:sp>
        <p:sp>
          <p:nvSpPr>
            <p:cNvPr id="66" name="Rectangle 21">
              <a:extLst>
                <a:ext uri="{FF2B5EF4-FFF2-40B4-BE49-F238E27FC236}">
                  <a16:creationId xmlns:a16="http://schemas.microsoft.com/office/drawing/2014/main" id="{0549E06F-2CA3-2F5C-6F93-152E6036C6D6}"/>
                </a:ext>
              </a:extLst>
            </p:cNvPr>
            <p:cNvSpPr/>
            <p:nvPr/>
          </p:nvSpPr>
          <p:spPr>
            <a:xfrm>
              <a:off x="-2426585" y="4139552"/>
              <a:ext cx="763000" cy="252000"/>
            </a:xfrm>
            <a:prstGeom prst="rect">
              <a:avLst/>
            </a:prstGeom>
            <a:solidFill>
              <a:srgbClr val="FD349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53 / 52 / 156</a:t>
              </a:r>
            </a:p>
          </p:txBody>
        </p:sp>
        <p:sp>
          <p:nvSpPr>
            <p:cNvPr id="67" name="Rectangle 3">
              <a:extLst>
                <a:ext uri="{FF2B5EF4-FFF2-40B4-BE49-F238E27FC236}">
                  <a16:creationId xmlns:a16="http://schemas.microsoft.com/office/drawing/2014/main" id="{C66AD80F-E43A-2635-3766-2971A32EE99E}"/>
                </a:ext>
              </a:extLst>
            </p:cNvPr>
            <p:cNvSpPr/>
            <p:nvPr/>
          </p:nvSpPr>
          <p:spPr>
            <a:xfrm>
              <a:off x="-1667383" y="2880263"/>
              <a:ext cx="252000" cy="252000"/>
            </a:xfrm>
            <a:prstGeom prst="rect">
              <a:avLst/>
            </a:prstGeom>
            <a:solidFill>
              <a:srgbClr val="4B6D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Rectangle 4">
              <a:extLst>
                <a:ext uri="{FF2B5EF4-FFF2-40B4-BE49-F238E27FC236}">
                  <a16:creationId xmlns:a16="http://schemas.microsoft.com/office/drawing/2014/main" id="{4372C0E1-72F2-0E26-B153-11DB6790B8CA}"/>
                </a:ext>
              </a:extLst>
            </p:cNvPr>
            <p:cNvSpPr/>
            <p:nvPr/>
          </p:nvSpPr>
          <p:spPr>
            <a:xfrm>
              <a:off x="-1667383" y="2628405"/>
              <a:ext cx="252000" cy="252000"/>
            </a:xfrm>
            <a:prstGeom prst="rect">
              <a:avLst/>
            </a:prstGeom>
            <a:solidFill>
              <a:srgbClr val="335CA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Rectangle 5">
              <a:extLst>
                <a:ext uri="{FF2B5EF4-FFF2-40B4-BE49-F238E27FC236}">
                  <a16:creationId xmlns:a16="http://schemas.microsoft.com/office/drawing/2014/main" id="{53E4A209-499D-8811-4352-6A34334E9BEC}"/>
                </a:ext>
              </a:extLst>
            </p:cNvPr>
            <p:cNvSpPr/>
            <p:nvPr/>
          </p:nvSpPr>
          <p:spPr>
            <a:xfrm>
              <a:off x="-1667383" y="3132121"/>
              <a:ext cx="252000" cy="252000"/>
            </a:xfrm>
            <a:prstGeom prst="rect">
              <a:avLst/>
            </a:prstGeom>
            <a:solidFill>
              <a:srgbClr val="3D4F6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Rectangle 6">
              <a:extLst>
                <a:ext uri="{FF2B5EF4-FFF2-40B4-BE49-F238E27FC236}">
                  <a16:creationId xmlns:a16="http://schemas.microsoft.com/office/drawing/2014/main" id="{E9062ECF-2E37-E84C-7F2E-6F91397C586F}"/>
                </a:ext>
              </a:extLst>
            </p:cNvPr>
            <p:cNvSpPr/>
            <p:nvPr/>
          </p:nvSpPr>
          <p:spPr>
            <a:xfrm>
              <a:off x="-1667383" y="3383979"/>
              <a:ext cx="252000" cy="252000"/>
            </a:xfrm>
            <a:prstGeom prst="rect">
              <a:avLst/>
            </a:prstGeom>
            <a:solidFill>
              <a:srgbClr val="BDEE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Rectangle 19">
              <a:extLst>
                <a:ext uri="{FF2B5EF4-FFF2-40B4-BE49-F238E27FC236}">
                  <a16:creationId xmlns:a16="http://schemas.microsoft.com/office/drawing/2014/main" id="{8BF7E290-CC59-4A3C-7074-967800B41ADB}"/>
                </a:ext>
              </a:extLst>
            </p:cNvPr>
            <p:cNvSpPr/>
            <p:nvPr/>
          </p:nvSpPr>
          <p:spPr>
            <a:xfrm>
              <a:off x="-1667383" y="3635837"/>
              <a:ext cx="252000" cy="252000"/>
            </a:xfrm>
            <a:prstGeom prst="rect">
              <a:avLst/>
            </a:prstGeom>
            <a:solidFill>
              <a:srgbClr val="33C6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Rectangle 20">
              <a:extLst>
                <a:ext uri="{FF2B5EF4-FFF2-40B4-BE49-F238E27FC236}">
                  <a16:creationId xmlns:a16="http://schemas.microsoft.com/office/drawing/2014/main" id="{1DA70FBB-4687-81A7-6A08-FEC1F99B271A}"/>
                </a:ext>
              </a:extLst>
            </p:cNvPr>
            <p:cNvSpPr/>
            <p:nvPr/>
          </p:nvSpPr>
          <p:spPr>
            <a:xfrm>
              <a:off x="-1667383" y="3887695"/>
              <a:ext cx="252000" cy="252000"/>
            </a:xfrm>
            <a:prstGeom prst="rect">
              <a:avLst/>
            </a:prstGeom>
            <a:solidFill>
              <a:srgbClr val="8E42E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Rectangle 21">
              <a:extLst>
                <a:ext uri="{FF2B5EF4-FFF2-40B4-BE49-F238E27FC236}">
                  <a16:creationId xmlns:a16="http://schemas.microsoft.com/office/drawing/2014/main" id="{976C8E30-7123-A333-FADF-4F824568FE4D}"/>
                </a:ext>
              </a:extLst>
            </p:cNvPr>
            <p:cNvSpPr/>
            <p:nvPr/>
          </p:nvSpPr>
          <p:spPr>
            <a:xfrm>
              <a:off x="-1667383" y="4139552"/>
              <a:ext cx="252000" cy="252000"/>
            </a:xfrm>
            <a:prstGeom prst="rect">
              <a:avLst/>
            </a:prstGeom>
            <a:solidFill>
              <a:srgbClr val="FD5DB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Rectangle 3">
              <a:extLst>
                <a:ext uri="{FF2B5EF4-FFF2-40B4-BE49-F238E27FC236}">
                  <a16:creationId xmlns:a16="http://schemas.microsoft.com/office/drawing/2014/main" id="{C84E3895-356D-B2A7-B0E2-5D6784061461}"/>
                </a:ext>
              </a:extLst>
            </p:cNvPr>
            <p:cNvSpPr/>
            <p:nvPr/>
          </p:nvSpPr>
          <p:spPr>
            <a:xfrm>
              <a:off x="-1415383" y="2880263"/>
              <a:ext cx="252000" cy="252000"/>
            </a:xfrm>
            <a:prstGeom prst="rect">
              <a:avLst/>
            </a:prstGeom>
            <a:solidFill>
              <a:srgbClr val="7892E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Rectangle 4">
              <a:extLst>
                <a:ext uri="{FF2B5EF4-FFF2-40B4-BE49-F238E27FC236}">
                  <a16:creationId xmlns:a16="http://schemas.microsoft.com/office/drawing/2014/main" id="{70BCC5FE-F20C-57F8-FED3-4809255394F0}"/>
                </a:ext>
              </a:extLst>
            </p:cNvPr>
            <p:cNvSpPr/>
            <p:nvPr/>
          </p:nvSpPr>
          <p:spPr>
            <a:xfrm>
              <a:off x="-1415383" y="2628405"/>
              <a:ext cx="252000" cy="252000"/>
            </a:xfrm>
            <a:prstGeom prst="rect">
              <a:avLst/>
            </a:prstGeom>
            <a:solidFill>
              <a:srgbClr val="6685B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Rectangle 5">
              <a:extLst>
                <a:ext uri="{FF2B5EF4-FFF2-40B4-BE49-F238E27FC236}">
                  <a16:creationId xmlns:a16="http://schemas.microsoft.com/office/drawing/2014/main" id="{B24EA7D6-29B4-3B99-BB7A-E1A6BD54BBEB}"/>
                </a:ext>
              </a:extLst>
            </p:cNvPr>
            <p:cNvSpPr/>
            <p:nvPr/>
          </p:nvSpPr>
          <p:spPr>
            <a:xfrm>
              <a:off x="-1415383" y="3132121"/>
              <a:ext cx="252000" cy="252000"/>
            </a:xfrm>
            <a:prstGeom prst="rect">
              <a:avLst/>
            </a:prstGeom>
            <a:solidFill>
              <a:srgbClr val="6D7B8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Rectangle 6">
              <a:extLst>
                <a:ext uri="{FF2B5EF4-FFF2-40B4-BE49-F238E27FC236}">
                  <a16:creationId xmlns:a16="http://schemas.microsoft.com/office/drawing/2014/main" id="{16D07898-D909-7B40-B01F-EE04090DEEA7}"/>
                </a:ext>
              </a:extLst>
            </p:cNvPr>
            <p:cNvSpPr/>
            <p:nvPr/>
          </p:nvSpPr>
          <p:spPr>
            <a:xfrm>
              <a:off x="-1415383" y="3383979"/>
              <a:ext cx="252000" cy="252000"/>
            </a:xfrm>
            <a:prstGeom prst="rect">
              <a:avLst/>
            </a:prstGeom>
            <a:solidFill>
              <a:srgbClr val="CDF2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Rectangle 19">
              <a:extLst>
                <a:ext uri="{FF2B5EF4-FFF2-40B4-BE49-F238E27FC236}">
                  <a16:creationId xmlns:a16="http://schemas.microsoft.com/office/drawing/2014/main" id="{3073525E-756F-FB2F-17E5-D1CF53B7F1D2}"/>
                </a:ext>
              </a:extLst>
            </p:cNvPr>
            <p:cNvSpPr/>
            <p:nvPr/>
          </p:nvSpPr>
          <p:spPr>
            <a:xfrm>
              <a:off x="-1415383" y="3635837"/>
              <a:ext cx="252000" cy="252000"/>
            </a:xfrm>
            <a:prstGeom prst="rect">
              <a:avLst/>
            </a:prstGeom>
            <a:solidFill>
              <a:srgbClr val="66D4F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Rectangle 20">
              <a:extLst>
                <a:ext uri="{FF2B5EF4-FFF2-40B4-BE49-F238E27FC236}">
                  <a16:creationId xmlns:a16="http://schemas.microsoft.com/office/drawing/2014/main" id="{C504E6E7-43E9-9B2D-4DEA-AF0FADB115FC}"/>
                </a:ext>
              </a:extLst>
            </p:cNvPr>
            <p:cNvSpPr/>
            <p:nvPr/>
          </p:nvSpPr>
          <p:spPr>
            <a:xfrm>
              <a:off x="-1415383" y="3887695"/>
              <a:ext cx="252000" cy="252000"/>
            </a:xfrm>
            <a:prstGeom prst="rect">
              <a:avLst/>
            </a:prstGeom>
            <a:solidFill>
              <a:srgbClr val="AA71F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Rectangle 21">
              <a:extLst>
                <a:ext uri="{FF2B5EF4-FFF2-40B4-BE49-F238E27FC236}">
                  <a16:creationId xmlns:a16="http://schemas.microsoft.com/office/drawing/2014/main" id="{9F48F140-10B6-7AAA-4B3A-B1A2527C908F}"/>
                </a:ext>
              </a:extLst>
            </p:cNvPr>
            <p:cNvSpPr/>
            <p:nvPr/>
          </p:nvSpPr>
          <p:spPr>
            <a:xfrm>
              <a:off x="-1415383" y="4139552"/>
              <a:ext cx="252000" cy="252000"/>
            </a:xfrm>
            <a:prstGeom prst="rect">
              <a:avLst/>
            </a:prstGeom>
            <a:solidFill>
              <a:srgbClr val="FE85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Rectangle 3">
              <a:extLst>
                <a:ext uri="{FF2B5EF4-FFF2-40B4-BE49-F238E27FC236}">
                  <a16:creationId xmlns:a16="http://schemas.microsoft.com/office/drawing/2014/main" id="{C8B7CD58-74A6-38B3-1212-0AD62863B3F3}"/>
                </a:ext>
              </a:extLst>
            </p:cNvPr>
            <p:cNvSpPr/>
            <p:nvPr/>
          </p:nvSpPr>
          <p:spPr>
            <a:xfrm>
              <a:off x="-1166305" y="2880263"/>
              <a:ext cx="252000" cy="252000"/>
            </a:xfrm>
            <a:prstGeom prst="rect">
              <a:avLst/>
            </a:prstGeom>
            <a:solidFill>
              <a:srgbClr val="A5B6F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Rectangle 4">
              <a:extLst>
                <a:ext uri="{FF2B5EF4-FFF2-40B4-BE49-F238E27FC236}">
                  <a16:creationId xmlns:a16="http://schemas.microsoft.com/office/drawing/2014/main" id="{906694E6-F30F-1D34-8492-A3E8CC516CF3}"/>
                </a:ext>
              </a:extLst>
            </p:cNvPr>
            <p:cNvSpPr/>
            <p:nvPr/>
          </p:nvSpPr>
          <p:spPr>
            <a:xfrm>
              <a:off x="-1166305" y="2628405"/>
              <a:ext cx="252000" cy="252000"/>
            </a:xfrm>
            <a:prstGeom prst="rect">
              <a:avLst/>
            </a:prstGeom>
            <a:solidFill>
              <a:srgbClr val="99ADD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Rectangle 5">
              <a:extLst>
                <a:ext uri="{FF2B5EF4-FFF2-40B4-BE49-F238E27FC236}">
                  <a16:creationId xmlns:a16="http://schemas.microsoft.com/office/drawing/2014/main" id="{F2D5B893-EE2D-EC4B-986D-5F361D2F38B2}"/>
                </a:ext>
              </a:extLst>
            </p:cNvPr>
            <p:cNvSpPr/>
            <p:nvPr/>
          </p:nvSpPr>
          <p:spPr>
            <a:xfrm>
              <a:off x="-1166305" y="3132121"/>
              <a:ext cx="252000" cy="252000"/>
            </a:xfrm>
            <a:prstGeom prst="rect">
              <a:avLst/>
            </a:prstGeom>
            <a:solidFill>
              <a:srgbClr val="9EA7B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Rectangle 6">
              <a:extLst>
                <a:ext uri="{FF2B5EF4-FFF2-40B4-BE49-F238E27FC236}">
                  <a16:creationId xmlns:a16="http://schemas.microsoft.com/office/drawing/2014/main" id="{D624C9B0-C25C-D511-4600-E09859DCF75B}"/>
                </a:ext>
              </a:extLst>
            </p:cNvPr>
            <p:cNvSpPr/>
            <p:nvPr/>
          </p:nvSpPr>
          <p:spPr>
            <a:xfrm>
              <a:off x="-1166305" y="3383979"/>
              <a:ext cx="252000" cy="252000"/>
            </a:xfrm>
            <a:prstGeom prst="rect">
              <a:avLst/>
            </a:prstGeom>
            <a:solidFill>
              <a:srgbClr val="DEF7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Rectangle 19">
              <a:extLst>
                <a:ext uri="{FF2B5EF4-FFF2-40B4-BE49-F238E27FC236}">
                  <a16:creationId xmlns:a16="http://schemas.microsoft.com/office/drawing/2014/main" id="{EDF0987F-E2E1-8E3C-C74C-A44370720FA1}"/>
                </a:ext>
              </a:extLst>
            </p:cNvPr>
            <p:cNvSpPr/>
            <p:nvPr/>
          </p:nvSpPr>
          <p:spPr>
            <a:xfrm>
              <a:off x="-1166305" y="3635837"/>
              <a:ext cx="252000" cy="252000"/>
            </a:xfrm>
            <a:prstGeom prst="rect">
              <a:avLst/>
            </a:prstGeom>
            <a:solidFill>
              <a:srgbClr val="99E3F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Rectangle 20">
              <a:extLst>
                <a:ext uri="{FF2B5EF4-FFF2-40B4-BE49-F238E27FC236}">
                  <a16:creationId xmlns:a16="http://schemas.microsoft.com/office/drawing/2014/main" id="{86E48446-A760-39DE-97B0-7DCAAABE1E4D}"/>
                </a:ext>
              </a:extLst>
            </p:cNvPr>
            <p:cNvSpPr/>
            <p:nvPr/>
          </p:nvSpPr>
          <p:spPr>
            <a:xfrm>
              <a:off x="-1166305" y="3887695"/>
              <a:ext cx="252000" cy="252000"/>
            </a:xfrm>
            <a:prstGeom prst="rect">
              <a:avLst/>
            </a:prstGeom>
            <a:solidFill>
              <a:srgbClr val="C7A1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Rectangle 21">
              <a:extLst>
                <a:ext uri="{FF2B5EF4-FFF2-40B4-BE49-F238E27FC236}">
                  <a16:creationId xmlns:a16="http://schemas.microsoft.com/office/drawing/2014/main" id="{6C5101C3-9215-43EE-9CCE-4EBA68EFEA6A}"/>
                </a:ext>
              </a:extLst>
            </p:cNvPr>
            <p:cNvSpPr/>
            <p:nvPr/>
          </p:nvSpPr>
          <p:spPr>
            <a:xfrm>
              <a:off x="-1166305" y="4139552"/>
              <a:ext cx="252000" cy="252000"/>
            </a:xfrm>
            <a:prstGeom prst="rect">
              <a:avLst/>
            </a:prstGeom>
            <a:solidFill>
              <a:srgbClr val="FEAED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Rectangle 3">
              <a:extLst>
                <a:ext uri="{FF2B5EF4-FFF2-40B4-BE49-F238E27FC236}">
                  <a16:creationId xmlns:a16="http://schemas.microsoft.com/office/drawing/2014/main" id="{5A10F36B-364A-CD8B-0C2B-F67102A8B4E1}"/>
                </a:ext>
              </a:extLst>
            </p:cNvPr>
            <p:cNvSpPr/>
            <p:nvPr/>
          </p:nvSpPr>
          <p:spPr>
            <a:xfrm>
              <a:off x="-914806" y="2880121"/>
              <a:ext cx="252000" cy="252000"/>
            </a:xfrm>
            <a:prstGeom prst="rect">
              <a:avLst/>
            </a:prstGeom>
            <a:solidFill>
              <a:srgbClr val="D2DBF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Rectangle 4">
              <a:extLst>
                <a:ext uri="{FF2B5EF4-FFF2-40B4-BE49-F238E27FC236}">
                  <a16:creationId xmlns:a16="http://schemas.microsoft.com/office/drawing/2014/main" id="{8E549196-134D-717A-6F89-7DD1C8D41699}"/>
                </a:ext>
              </a:extLst>
            </p:cNvPr>
            <p:cNvSpPr/>
            <p:nvPr/>
          </p:nvSpPr>
          <p:spPr>
            <a:xfrm>
              <a:off x="-914806" y="2628263"/>
              <a:ext cx="252000" cy="252000"/>
            </a:xfrm>
            <a:prstGeom prst="rect">
              <a:avLst/>
            </a:prstGeom>
            <a:solidFill>
              <a:srgbClr val="CCD6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Rectangle 5">
              <a:extLst>
                <a:ext uri="{FF2B5EF4-FFF2-40B4-BE49-F238E27FC236}">
                  <a16:creationId xmlns:a16="http://schemas.microsoft.com/office/drawing/2014/main" id="{50A10C2C-F7DE-9021-C821-04F23134D309}"/>
                </a:ext>
              </a:extLst>
            </p:cNvPr>
            <p:cNvSpPr/>
            <p:nvPr/>
          </p:nvSpPr>
          <p:spPr>
            <a:xfrm>
              <a:off x="-914806" y="3131979"/>
              <a:ext cx="252000" cy="252000"/>
            </a:xfrm>
            <a:prstGeom prst="rect">
              <a:avLst/>
            </a:prstGeom>
            <a:solidFill>
              <a:srgbClr val="CED3D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Rectangle 6">
              <a:extLst>
                <a:ext uri="{FF2B5EF4-FFF2-40B4-BE49-F238E27FC236}">
                  <a16:creationId xmlns:a16="http://schemas.microsoft.com/office/drawing/2014/main" id="{11055802-0FEB-826F-7B65-3C5533BEB455}"/>
                </a:ext>
              </a:extLst>
            </p:cNvPr>
            <p:cNvSpPr/>
            <p:nvPr/>
          </p:nvSpPr>
          <p:spPr>
            <a:xfrm>
              <a:off x="-914806" y="3383837"/>
              <a:ext cx="252000" cy="252000"/>
            </a:xfrm>
            <a:prstGeom prst="rect">
              <a:avLst/>
            </a:prstGeom>
            <a:solidFill>
              <a:srgbClr val="EEFB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Rectangle 19">
              <a:extLst>
                <a:ext uri="{FF2B5EF4-FFF2-40B4-BE49-F238E27FC236}">
                  <a16:creationId xmlns:a16="http://schemas.microsoft.com/office/drawing/2014/main" id="{B609FCDC-BA99-28B2-9761-EE7ED514C48F}"/>
                </a:ext>
              </a:extLst>
            </p:cNvPr>
            <p:cNvSpPr/>
            <p:nvPr/>
          </p:nvSpPr>
          <p:spPr>
            <a:xfrm>
              <a:off x="-914806" y="3635695"/>
              <a:ext cx="252000" cy="252000"/>
            </a:xfrm>
            <a:prstGeom prst="rect">
              <a:avLst/>
            </a:prstGeom>
            <a:solidFill>
              <a:srgbClr val="CCF1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Rectangle 20">
              <a:extLst>
                <a:ext uri="{FF2B5EF4-FFF2-40B4-BE49-F238E27FC236}">
                  <a16:creationId xmlns:a16="http://schemas.microsoft.com/office/drawing/2014/main" id="{051EEA33-2F18-8E39-8FAB-EB72F4B35498}"/>
                </a:ext>
              </a:extLst>
            </p:cNvPr>
            <p:cNvSpPr/>
            <p:nvPr/>
          </p:nvSpPr>
          <p:spPr>
            <a:xfrm>
              <a:off x="-914806" y="3887553"/>
              <a:ext cx="252000" cy="252000"/>
            </a:xfrm>
            <a:prstGeom prst="rect">
              <a:avLst/>
            </a:prstGeom>
            <a:solidFill>
              <a:srgbClr val="E3D0F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Rectangle 21">
              <a:extLst>
                <a:ext uri="{FF2B5EF4-FFF2-40B4-BE49-F238E27FC236}">
                  <a16:creationId xmlns:a16="http://schemas.microsoft.com/office/drawing/2014/main" id="{70371EBC-5B19-0923-DAC8-4B06A525F4B6}"/>
                </a:ext>
              </a:extLst>
            </p:cNvPr>
            <p:cNvSpPr/>
            <p:nvPr/>
          </p:nvSpPr>
          <p:spPr>
            <a:xfrm>
              <a:off x="-914806" y="4139410"/>
              <a:ext cx="252000" cy="252000"/>
            </a:xfrm>
            <a:prstGeom prst="rect">
              <a:avLst/>
            </a:prstGeom>
            <a:solidFill>
              <a:srgbClr val="FFD6E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1" name="그룹 100">
            <a:extLst>
              <a:ext uri="{FF2B5EF4-FFF2-40B4-BE49-F238E27FC236}">
                <a16:creationId xmlns:a16="http://schemas.microsoft.com/office/drawing/2014/main" id="{11A203CA-0EB6-2FDF-B6CA-881291D413C5}"/>
              </a:ext>
            </a:extLst>
          </p:cNvPr>
          <p:cNvGrpSpPr/>
          <p:nvPr userDrawn="1"/>
        </p:nvGrpSpPr>
        <p:grpSpPr>
          <a:xfrm>
            <a:off x="8534231" y="-387424"/>
            <a:ext cx="1098719" cy="252142"/>
            <a:chOff x="8534231" y="-387424"/>
            <a:chExt cx="1098719" cy="252142"/>
          </a:xfrm>
        </p:grpSpPr>
        <p:sp>
          <p:nvSpPr>
            <p:cNvPr id="102" name="Rectangle 4">
              <a:extLst>
                <a:ext uri="{FF2B5EF4-FFF2-40B4-BE49-F238E27FC236}">
                  <a16:creationId xmlns:a16="http://schemas.microsoft.com/office/drawing/2014/main" id="{AD3CC0DF-27AB-D9E8-1B76-F879CDCA76E9}"/>
                </a:ext>
              </a:extLst>
            </p:cNvPr>
            <p:cNvSpPr/>
            <p:nvPr userDrawn="1"/>
          </p:nvSpPr>
          <p:spPr>
            <a:xfrm>
              <a:off x="8534231" y="-387282"/>
              <a:ext cx="980176" cy="252000"/>
            </a:xfrm>
            <a:prstGeom prst="rect">
              <a:avLst/>
            </a:pr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 / 35 / 60`</a:t>
              </a:r>
            </a:p>
          </p:txBody>
        </p:sp>
        <p:sp>
          <p:nvSpPr>
            <p:cNvPr id="103" name="Rectangle 4">
              <a:extLst>
                <a:ext uri="{FF2B5EF4-FFF2-40B4-BE49-F238E27FC236}">
                  <a16:creationId xmlns:a16="http://schemas.microsoft.com/office/drawing/2014/main" id="{999DAC78-EE14-72F1-8BDD-CB43C443A2DC}"/>
                </a:ext>
              </a:extLst>
            </p:cNvPr>
            <p:cNvSpPr/>
            <p:nvPr userDrawn="1"/>
          </p:nvSpPr>
          <p:spPr>
            <a:xfrm>
              <a:off x="9124695" y="-387282"/>
              <a:ext cx="127497" cy="252000"/>
            </a:xfrm>
            <a:prstGeom prst="rect">
              <a:avLst/>
            </a:prstGeom>
            <a:solidFill>
              <a:srgbClr val="4E4F5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Rectangle 4">
              <a:extLst>
                <a:ext uri="{FF2B5EF4-FFF2-40B4-BE49-F238E27FC236}">
                  <a16:creationId xmlns:a16="http://schemas.microsoft.com/office/drawing/2014/main" id="{DCA245DA-A97D-2CA3-4A38-E60CF59DFE2F}"/>
                </a:ext>
              </a:extLst>
            </p:cNvPr>
            <p:cNvSpPr/>
            <p:nvPr userDrawn="1"/>
          </p:nvSpPr>
          <p:spPr>
            <a:xfrm>
              <a:off x="9252192" y="-387282"/>
              <a:ext cx="127497" cy="252000"/>
            </a:xfrm>
            <a:prstGeom prst="rect">
              <a:avLst/>
            </a:prstGeom>
            <a:solidFill>
              <a:srgbClr val="E3E4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Rectangle 4">
              <a:extLst>
                <a:ext uri="{FF2B5EF4-FFF2-40B4-BE49-F238E27FC236}">
                  <a16:creationId xmlns:a16="http://schemas.microsoft.com/office/drawing/2014/main" id="{E29FF936-5C1A-08D7-FFBB-D0C49FC2C021}"/>
                </a:ext>
              </a:extLst>
            </p:cNvPr>
            <p:cNvSpPr/>
            <p:nvPr userDrawn="1"/>
          </p:nvSpPr>
          <p:spPr>
            <a:xfrm>
              <a:off x="9378211" y="-387282"/>
              <a:ext cx="127497" cy="252000"/>
            </a:xfrm>
            <a:prstGeom prst="rect">
              <a:avLst/>
            </a:prstGeom>
            <a:solidFill>
              <a:srgbClr val="F4F4F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Rectangle 4">
              <a:extLst>
                <a:ext uri="{FF2B5EF4-FFF2-40B4-BE49-F238E27FC236}">
                  <a16:creationId xmlns:a16="http://schemas.microsoft.com/office/drawing/2014/main" id="{BD9F74C6-8BBF-F280-4458-06C64350CA88}"/>
                </a:ext>
              </a:extLst>
            </p:cNvPr>
            <p:cNvSpPr/>
            <p:nvPr userDrawn="1"/>
          </p:nvSpPr>
          <p:spPr>
            <a:xfrm>
              <a:off x="9505453" y="-387424"/>
              <a:ext cx="127497" cy="252000"/>
            </a:xfrm>
            <a:prstGeom prst="rect">
              <a:avLst/>
            </a:prstGeom>
            <a:solidFill>
              <a:srgbClr val="B2DFE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B2DFE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2" name="내용 개체 틀 18">
            <a:extLst>
              <a:ext uri="{FF2B5EF4-FFF2-40B4-BE49-F238E27FC236}">
                <a16:creationId xmlns:a16="http://schemas.microsoft.com/office/drawing/2014/main" id="{3ABEC3CC-7345-4C8E-4A0D-0E8625339CF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3000" y="703759"/>
            <a:ext cx="9180000" cy="98370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lnSpc>
                <a:spcPct val="150000"/>
              </a:lnSpc>
              <a:buFontTx/>
              <a:buNone/>
              <a:defRPr lang="ko-KR" altLang="en-US" sz="1400" b="0" smtClean="0">
                <a:latin typeface="Outfit" pitchFamily="2" charset="0"/>
                <a:ea typeface="나눔스퀘어 네오 Regular" panose="00000500000000000000" pitchFamily="2" charset="-127"/>
                <a:cs typeface="+mj-cs"/>
              </a:defRPr>
            </a:lvl1pPr>
            <a:lvl2pPr marL="185738" indent="0">
              <a:buFontTx/>
              <a:buNone/>
              <a:defRPr lang="ko-KR" altLang="en-US" sz="2000" b="1" smtClean="0">
                <a:latin typeface="맑은 고딕" pitchFamily="50" charset="-127"/>
                <a:ea typeface="맑은 고딕" pitchFamily="50" charset="-127"/>
              </a:defRPr>
            </a:lvl2pPr>
            <a:lvl3pPr marL="452437" indent="0">
              <a:buFontTx/>
              <a:buNone/>
              <a:defRPr lang="ko-KR" altLang="en-US" sz="2000" b="1" smtClean="0">
                <a:latin typeface="맑은 고딕" pitchFamily="50" charset="-127"/>
                <a:ea typeface="맑은 고딕" pitchFamily="50" charset="-127"/>
              </a:defRPr>
            </a:lvl3pPr>
            <a:lvl4pPr marL="623887" indent="0">
              <a:buFontTx/>
              <a:buNone/>
              <a:defRPr lang="ko-KR" altLang="en-US" sz="2000" b="1" smtClean="0">
                <a:latin typeface="맑은 고딕" pitchFamily="50" charset="-127"/>
                <a:ea typeface="맑은 고딕" pitchFamily="50" charset="-127"/>
              </a:defRPr>
            </a:lvl4pPr>
            <a:lvl5pPr marL="811212" indent="0">
              <a:buFontTx/>
              <a:buNone/>
              <a:defRPr lang="ko-KR" altLang="en-US" sz="2000" b="1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>
              <a:spcBef>
                <a:spcPct val="0"/>
              </a:spcBef>
            </a:pPr>
            <a:r>
              <a:rPr lang="ko-KR" altLang="en-US" dirty="0"/>
              <a:t>마스터 텍스트 스타일 편집</a:t>
            </a:r>
            <a:r>
              <a:rPr lang="en-US" altLang="ko-KR" dirty="0"/>
              <a:t>, Contents</a:t>
            </a:r>
            <a:endParaRPr lang="ko-KR" altLang="en-US" dirty="0"/>
          </a:p>
        </p:txBody>
      </p:sp>
      <p:sp>
        <p:nvSpPr>
          <p:cNvPr id="114" name="슬라이드 번호 개체 틀 5">
            <a:extLst>
              <a:ext uri="{FF2B5EF4-FFF2-40B4-BE49-F238E27FC236}">
                <a16:creationId xmlns:a16="http://schemas.microsoft.com/office/drawing/2014/main" id="{A3C885CB-236E-25A4-7F9D-8B0FD7891AE3}"/>
              </a:ext>
            </a:extLst>
          </p:cNvPr>
          <p:cNvSpPr txBox="1">
            <a:spLocks/>
          </p:cNvSpPr>
          <p:nvPr userDrawn="1"/>
        </p:nvSpPr>
        <p:spPr>
          <a:xfrm>
            <a:off x="4880866" y="6624305"/>
            <a:ext cx="144270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ko-KR"/>
            </a:defPPr>
            <a:lvl1pPr algn="ctr" rtl="0" fontAlgn="auto" latinLnBrk="1">
              <a:spcBef>
                <a:spcPts val="0"/>
              </a:spcBef>
              <a:spcAft>
                <a:spcPts val="0"/>
              </a:spcAft>
              <a:defRPr kumimoji="0" sz="10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>
              <a:defRPr/>
            </a:pPr>
            <a:fld id="{57130410-0A2F-41CB-B223-A1672F0EE241}" type="slidenum">
              <a:rPr lang="ko-KR" altLang="en-US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defRPr/>
              </a:pPr>
              <a:t>‹#›</a:t>
            </a:fld>
            <a:endParaRPr lang="ko-KR" altLang="en-US" sz="9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15" name="직선 연결선 114">
            <a:extLst>
              <a:ext uri="{FF2B5EF4-FFF2-40B4-BE49-F238E27FC236}">
                <a16:creationId xmlns:a16="http://schemas.microsoft.com/office/drawing/2014/main" id="{C036D112-D416-00F1-676D-2941C6F6C6B7}"/>
              </a:ext>
            </a:extLst>
          </p:cNvPr>
          <p:cNvCxnSpPr/>
          <p:nvPr userDrawn="1"/>
        </p:nvCxnSpPr>
        <p:spPr bwMode="auto">
          <a:xfrm>
            <a:off x="-75325" y="6480083"/>
            <a:ext cx="1005665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4E4F5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6" name="직사각형 115">
            <a:extLst>
              <a:ext uri="{FF2B5EF4-FFF2-40B4-BE49-F238E27FC236}">
                <a16:creationId xmlns:a16="http://schemas.microsoft.com/office/drawing/2014/main" id="{589F9507-1E75-FC02-8A26-C9E97BED44A0}"/>
              </a:ext>
            </a:extLst>
          </p:cNvPr>
          <p:cNvSpPr/>
          <p:nvPr userDrawn="1"/>
        </p:nvSpPr>
        <p:spPr>
          <a:xfrm>
            <a:off x="381794" y="6535804"/>
            <a:ext cx="248497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b="1" i="0" err="1">
                <a:ln w="12700">
                  <a:noFill/>
                  <a:prstDash val="solid"/>
                </a:ln>
                <a:solidFill>
                  <a:schemeClr val="tx1">
                    <a:lumMod val="75000"/>
                    <a:lumOff val="25000"/>
                    <a:alpha val="70000"/>
                  </a:schemeClr>
                </a:solidFill>
                <a:latin typeface="+mj-lt"/>
              </a:rPr>
              <a:t>Vanguardlab</a:t>
            </a:r>
            <a:r>
              <a:rPr kumimoji="0" lang="en-US" altLang="ko-KR" sz="800" b="1" i="0">
                <a:ln w="12700">
                  <a:noFill/>
                  <a:prstDash val="solid"/>
                </a:ln>
                <a:solidFill>
                  <a:schemeClr val="tx1">
                    <a:lumMod val="75000"/>
                    <a:lumOff val="25000"/>
                    <a:alpha val="70000"/>
                  </a:schemeClr>
                </a:solidFill>
                <a:latin typeface="+mj-lt"/>
              </a:rPr>
              <a:t> co., Copyright </a:t>
            </a:r>
            <a:r>
              <a:rPr kumimoji="0" lang="ko-KR" altLang="en-US" sz="800" b="1" i="0">
                <a:ln w="12700">
                  <a:noFill/>
                  <a:prstDash val="solid"/>
                </a:ln>
                <a:solidFill>
                  <a:schemeClr val="tx1">
                    <a:lumMod val="75000"/>
                    <a:lumOff val="25000"/>
                    <a:alpha val="70000"/>
                  </a:schemeClr>
                </a:solidFill>
                <a:latin typeface="+mj-lt"/>
              </a:rPr>
              <a:t>ⓒ </a:t>
            </a:r>
            <a:r>
              <a:rPr kumimoji="0" lang="en-US" altLang="ko-KR" sz="800" b="1" i="0">
                <a:ln w="12700">
                  <a:noFill/>
                  <a:prstDash val="solid"/>
                </a:ln>
                <a:solidFill>
                  <a:schemeClr val="tx1">
                    <a:lumMod val="75000"/>
                    <a:lumOff val="25000"/>
                    <a:alpha val="70000"/>
                  </a:schemeClr>
                </a:solidFill>
                <a:latin typeface="+mj-lt"/>
              </a:rPr>
              <a:t>2024 All rights reserved</a:t>
            </a:r>
            <a:endParaRPr kumimoji="0" lang="ko-KR" altLang="en-US" sz="800" b="1" i="0">
              <a:ln w="12700">
                <a:noFill/>
                <a:prstDash val="solid"/>
              </a:ln>
              <a:solidFill>
                <a:schemeClr val="tx1">
                  <a:lumMod val="75000"/>
                  <a:lumOff val="25000"/>
                  <a:alpha val="70000"/>
                </a:schemeClr>
              </a:solidFill>
              <a:latin typeface="+mj-lt"/>
            </a:endParaRPr>
          </a:p>
        </p:txBody>
      </p:sp>
      <p:pic>
        <p:nvPicPr>
          <p:cNvPr id="117" name="그림 116">
            <a:extLst>
              <a:ext uri="{FF2B5EF4-FFF2-40B4-BE49-F238E27FC236}">
                <a16:creationId xmlns:a16="http://schemas.microsoft.com/office/drawing/2014/main" id="{2867BF7C-5005-266E-172A-8870A5309CF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3539" y="6535806"/>
            <a:ext cx="1210668" cy="221285"/>
          </a:xfrm>
          <a:prstGeom prst="rect">
            <a:avLst/>
          </a:prstGeom>
        </p:spPr>
      </p:pic>
      <p:cxnSp>
        <p:nvCxnSpPr>
          <p:cNvPr id="120" name="직선 연결선 119">
            <a:extLst>
              <a:ext uri="{FF2B5EF4-FFF2-40B4-BE49-F238E27FC236}">
                <a16:creationId xmlns:a16="http://schemas.microsoft.com/office/drawing/2014/main" id="{18C8B992-AF59-AE0A-2109-6F825176B956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24075" y="592688"/>
            <a:ext cx="7920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4E4F5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2" name="제목 개체 틀 1">
            <a:extLst>
              <a:ext uri="{FF2B5EF4-FFF2-40B4-BE49-F238E27FC236}">
                <a16:creationId xmlns:a16="http://schemas.microsoft.com/office/drawing/2014/main" id="{70467C3F-FC5A-23D2-CBEE-6B8E077491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360000" y="432000"/>
            <a:ext cx="1827213" cy="257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spAutoFit/>
          </a:bodyPr>
          <a:lstStyle>
            <a:lvl1pPr marL="0" algn="l" defTabSz="410291" rtl="0" eaLnBrk="1" latinLnBrk="0" hangingPunct="1">
              <a:defRPr lang="ko-KR" altLang="en-US" sz="1200" b="0" kern="1200" spc="338" baseline="0" dirty="0">
                <a:solidFill>
                  <a:srgbClr val="4E4F50"/>
                </a:solidFill>
                <a:latin typeface="Outfit SemiBold" pitchFamily="2" charset="0"/>
                <a:ea typeface="나눔스퀘어 네오 Bold" panose="00000800000000000000" pitchFamily="2" charset="-127"/>
                <a:cs typeface="TT Commons Pro Bold"/>
              </a:defRPr>
            </a:lvl1pPr>
          </a:lstStyle>
          <a:p>
            <a:pPr lvl="0"/>
            <a:r>
              <a:rPr lang="en-US" altLang="ko-KR" dirty="0"/>
              <a:t>TITL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77306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83772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3"/>
          <p:cNvSpPr/>
          <p:nvPr userDrawn="1"/>
        </p:nvSpPr>
        <p:spPr>
          <a:xfrm>
            <a:off x="3" y="0"/>
            <a:ext cx="99695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4E4F50"/>
          </a:solidFill>
        </p:spPr>
        <p:txBody>
          <a:bodyPr vert="vert270" wrap="square" lIns="0" tIns="0" rIns="0" bIns="0" rtlCol="0" anchor="ctr">
            <a:noAutofit/>
          </a:bodyPr>
          <a:lstStyle/>
          <a:p>
            <a:pPr algn="ctr"/>
            <a:endParaRPr sz="3200" b="1">
              <a:solidFill>
                <a:schemeClr val="bg1"/>
              </a:solidFill>
              <a:latin typeface="+mn-ea"/>
              <a:ea typeface="+mn-ea"/>
            </a:endParaRPr>
          </a:p>
        </p:txBody>
      </p:sp>
      <p:cxnSp>
        <p:nvCxnSpPr>
          <p:cNvPr id="23" name="직선 연결선 22"/>
          <p:cNvCxnSpPr/>
          <p:nvPr userDrawn="1"/>
        </p:nvCxnSpPr>
        <p:spPr bwMode="auto">
          <a:xfrm flipH="1">
            <a:off x="9477375" y="6637589"/>
            <a:ext cx="42862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4E4F50"/>
            </a:solidFill>
            <a:prstDash val="solid"/>
            <a:round/>
            <a:headEnd type="none" w="med" len="med"/>
            <a:tailEnd type="oval" w="sm" len="sm"/>
          </a:ln>
          <a:effectLst/>
        </p:spPr>
      </p:cxnSp>
      <p:sp>
        <p:nvSpPr>
          <p:cNvPr id="3" name="직사각형 2"/>
          <p:cNvSpPr/>
          <p:nvPr userDrawn="1"/>
        </p:nvSpPr>
        <p:spPr>
          <a:xfrm>
            <a:off x="6007845" y="6469597"/>
            <a:ext cx="33984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i="1" dirty="0">
                <a:ln w="12700">
                  <a:noFill/>
                  <a:prstDash val="solid"/>
                </a:ln>
                <a:solidFill>
                  <a:srgbClr val="4E4F50"/>
                </a:solidFill>
                <a:latin typeface="+mj-ea"/>
              </a:rPr>
              <a:t>To the world, For the future, With us.</a:t>
            </a:r>
            <a:endParaRPr kumimoji="0" lang="ko-KR" altLang="en-US" sz="1400" b="1" i="1" dirty="0">
              <a:ln w="12700">
                <a:noFill/>
                <a:prstDash val="solid"/>
              </a:ln>
              <a:solidFill>
                <a:srgbClr val="4E4F50"/>
              </a:solidFill>
              <a:latin typeface="+mj-ea"/>
            </a:endParaRPr>
          </a:p>
        </p:txBody>
      </p:sp>
      <p:cxnSp>
        <p:nvCxnSpPr>
          <p:cNvPr id="22" name="직선 연결선 21"/>
          <p:cNvCxnSpPr/>
          <p:nvPr userDrawn="1"/>
        </p:nvCxnSpPr>
        <p:spPr bwMode="auto">
          <a:xfrm>
            <a:off x="1" y="6637589"/>
            <a:ext cx="583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4E4F50"/>
            </a:solidFill>
            <a:prstDash val="solid"/>
            <a:round/>
            <a:headEnd type="none" w="med" len="med"/>
            <a:tailEnd type="oval" w="sm" len="sm"/>
          </a:ln>
          <a:effectLst/>
        </p:spPr>
      </p:cxnSp>
      <p:pic>
        <p:nvPicPr>
          <p:cNvPr id="4" name="그림 3" descr="폰트, 그래픽, 타이포그래피, 텍스트이(가) 표시된 사진&#10;&#10;자동 생성된 설명">
            <a:extLst>
              <a:ext uri="{FF2B5EF4-FFF2-40B4-BE49-F238E27FC236}">
                <a16:creationId xmlns:a16="http://schemas.microsoft.com/office/drawing/2014/main" id="{B9FF5A9E-2D20-4BA9-5862-CB13CB67BF5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836450" y="3123458"/>
            <a:ext cx="2669855" cy="492028"/>
          </a:xfrm>
          <a:prstGeom prst="rect">
            <a:avLst/>
          </a:prstGeom>
        </p:spPr>
      </p:pic>
      <p:grpSp>
        <p:nvGrpSpPr>
          <p:cNvPr id="5" name="그룹 4">
            <a:extLst>
              <a:ext uri="{FF2B5EF4-FFF2-40B4-BE49-F238E27FC236}">
                <a16:creationId xmlns:a16="http://schemas.microsoft.com/office/drawing/2014/main" id="{80989EFB-3BE9-D8D8-D33A-870796FDE45F}"/>
              </a:ext>
            </a:extLst>
          </p:cNvPr>
          <p:cNvGrpSpPr/>
          <p:nvPr userDrawn="1"/>
        </p:nvGrpSpPr>
        <p:grpSpPr>
          <a:xfrm>
            <a:off x="-732055" y="202453"/>
            <a:ext cx="651308" cy="6451719"/>
            <a:chOff x="-732055" y="202451"/>
            <a:chExt cx="651308" cy="6451719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F8772A6-514C-35C8-6932-33783873008B}"/>
                </a:ext>
              </a:extLst>
            </p:cNvPr>
            <p:cNvSpPr txBox="1"/>
            <p:nvPr userDrawn="1"/>
          </p:nvSpPr>
          <p:spPr>
            <a:xfrm rot="5400000">
              <a:off x="-869914" y="880479"/>
              <a:ext cx="1451320" cy="1270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dist="12700" dir="5400000" algn="t" rotWithShape="0">
                <a:schemeClr val="tx2"/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GB" sz="700" b="0">
                  <a:solidFill>
                    <a:schemeClr val="tx2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RIMARY </a:t>
              </a:r>
              <a:r>
                <a:rPr lang="ko-KR" altLang="en-US" sz="700" b="0" err="1">
                  <a:solidFill>
                    <a:schemeClr val="tx2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700" b="0">
                  <a:solidFill>
                    <a:schemeClr val="tx2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COLOURS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DEDCA32-E70D-57D9-036C-AC434B0CCFD1}"/>
                </a:ext>
              </a:extLst>
            </p:cNvPr>
            <p:cNvSpPr txBox="1"/>
            <p:nvPr userDrawn="1"/>
          </p:nvSpPr>
          <p:spPr>
            <a:xfrm rot="5400000">
              <a:off x="-1119140" y="2625061"/>
              <a:ext cx="1949772" cy="1270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dist="12700" dir="5400000" algn="t" rotWithShape="0">
                <a:srgbClr val="483698"/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ECONDARY </a:t>
              </a:r>
              <a:r>
                <a:rPr lang="ko-KR" altLang="en-US" sz="700" b="0" err="1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COLOUR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E05F580-091F-1BAF-7400-73AD75E38EC0}"/>
                </a:ext>
              </a:extLst>
            </p:cNvPr>
            <p:cNvSpPr txBox="1"/>
            <p:nvPr userDrawn="1"/>
          </p:nvSpPr>
          <p:spPr>
            <a:xfrm rot="5400000">
              <a:off x="-1617593" y="5117323"/>
              <a:ext cx="2946677" cy="1270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dist="12700" dir="5400000" algn="t" rotWithShape="0">
                <a:srgbClr val="43B02A"/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TERTIARY </a:t>
              </a:r>
              <a:r>
                <a:rPr lang="ko-KR" altLang="en-US" sz="700" b="0" err="1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COLOURS</a:t>
              </a:r>
            </a:p>
          </p:txBody>
        </p:sp>
        <p:sp>
          <p:nvSpPr>
            <p:cNvPr id="11" name="Rectangle 12">
              <a:extLst>
                <a:ext uri="{FF2B5EF4-FFF2-40B4-BE49-F238E27FC236}">
                  <a16:creationId xmlns:a16="http://schemas.microsoft.com/office/drawing/2014/main" id="{4CD59733-F9D7-34F0-0DE6-0E5D0E7D7493}"/>
                </a:ext>
              </a:extLst>
            </p:cNvPr>
            <p:cNvSpPr/>
            <p:nvPr userDrawn="1"/>
          </p:nvSpPr>
          <p:spPr>
            <a:xfrm rot="5400000">
              <a:off x="-612940" y="318519"/>
              <a:ext cx="454415" cy="254029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300" err="1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Blu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51 / 141</a:t>
              </a:r>
            </a:p>
          </p:txBody>
        </p:sp>
        <p:sp>
          <p:nvSpPr>
            <p:cNvPr id="13" name="Rectangle 13">
              <a:extLst>
                <a:ext uri="{FF2B5EF4-FFF2-40B4-BE49-F238E27FC236}">
                  <a16:creationId xmlns:a16="http://schemas.microsoft.com/office/drawing/2014/main" id="{CA3063E5-551E-480B-8210-E102C175CF8B}"/>
                </a:ext>
              </a:extLst>
            </p:cNvPr>
            <p:cNvSpPr/>
            <p:nvPr userDrawn="1"/>
          </p:nvSpPr>
          <p:spPr>
            <a:xfrm rot="5400000">
              <a:off x="-612940" y="816972"/>
              <a:ext cx="454415" cy="254029"/>
            </a:xfrm>
            <a:prstGeom prst="rect">
              <a:avLst/>
            </a:prstGeom>
            <a:solidFill>
              <a:srgbClr val="005E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edium Blu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94 / 184</a:t>
              </a:r>
            </a:p>
          </p:txBody>
        </p:sp>
        <p:sp>
          <p:nvSpPr>
            <p:cNvPr id="14" name="Rectangle 14">
              <a:extLst>
                <a:ext uri="{FF2B5EF4-FFF2-40B4-BE49-F238E27FC236}">
                  <a16:creationId xmlns:a16="http://schemas.microsoft.com/office/drawing/2014/main" id="{A757D9BD-3D6B-71EB-7EBA-54BEDA6B9C49}"/>
                </a:ext>
              </a:extLst>
            </p:cNvPr>
            <p:cNvSpPr/>
            <p:nvPr userDrawn="1"/>
          </p:nvSpPr>
          <p:spPr>
            <a:xfrm rot="5400000">
              <a:off x="-612940" y="1315424"/>
              <a:ext cx="454415" cy="25402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ght Blu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145 / 218</a:t>
              </a:r>
            </a:p>
          </p:txBody>
        </p:sp>
        <p:sp>
          <p:nvSpPr>
            <p:cNvPr id="15" name="Rectangle 15">
              <a:extLst>
                <a:ext uri="{FF2B5EF4-FFF2-40B4-BE49-F238E27FC236}">
                  <a16:creationId xmlns:a16="http://schemas.microsoft.com/office/drawing/2014/main" id="{E614C23D-A5BB-AF51-8ED7-968CEB92265B}"/>
                </a:ext>
              </a:extLst>
            </p:cNvPr>
            <p:cNvSpPr/>
            <p:nvPr userDrawn="1"/>
          </p:nvSpPr>
          <p:spPr>
            <a:xfrm rot="5400000">
              <a:off x="-612940" y="1813877"/>
              <a:ext cx="454415" cy="254029"/>
            </a:xfrm>
            <a:prstGeom prst="rect">
              <a:avLst/>
            </a:prstGeom>
            <a:solidFill>
              <a:srgbClr val="4836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Violet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72 / 54 / 152</a:t>
              </a:r>
            </a:p>
          </p:txBody>
        </p:sp>
        <p:sp>
          <p:nvSpPr>
            <p:cNvPr id="16" name="Rectangle 16">
              <a:extLst>
                <a:ext uri="{FF2B5EF4-FFF2-40B4-BE49-F238E27FC236}">
                  <a16:creationId xmlns:a16="http://schemas.microsoft.com/office/drawing/2014/main" id="{D19A48B9-FA3B-D68E-5A78-6AC6345905B6}"/>
                </a:ext>
              </a:extLst>
            </p:cNvPr>
            <p:cNvSpPr/>
            <p:nvPr userDrawn="1"/>
          </p:nvSpPr>
          <p:spPr>
            <a:xfrm rot="5400000">
              <a:off x="-612940" y="2312329"/>
              <a:ext cx="454415" cy="254029"/>
            </a:xfrm>
            <a:prstGeom prst="rect">
              <a:avLst/>
            </a:prstGeom>
            <a:solidFill>
              <a:srgbClr val="470A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urpl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71 / 10 / 104</a:t>
              </a:r>
            </a:p>
          </p:txBody>
        </p:sp>
        <p:sp>
          <p:nvSpPr>
            <p:cNvPr id="17" name="Rectangle 17">
              <a:extLst>
                <a:ext uri="{FF2B5EF4-FFF2-40B4-BE49-F238E27FC236}">
                  <a16:creationId xmlns:a16="http://schemas.microsoft.com/office/drawing/2014/main" id="{12AE23BE-9F3E-BF63-6EE6-A81D5B95CD97}"/>
                </a:ext>
              </a:extLst>
            </p:cNvPr>
            <p:cNvSpPr/>
            <p:nvPr userDrawn="1"/>
          </p:nvSpPr>
          <p:spPr>
            <a:xfrm rot="5400000">
              <a:off x="-612940" y="2810781"/>
              <a:ext cx="454415" cy="254029"/>
            </a:xfrm>
            <a:prstGeom prst="rect">
              <a:avLst/>
            </a:prstGeom>
            <a:solidFill>
              <a:srgbClr val="6D20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ght Purpl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09 / 32 / 119</a:t>
              </a:r>
            </a:p>
          </p:txBody>
        </p:sp>
        <p:sp>
          <p:nvSpPr>
            <p:cNvPr id="18" name="Rectangle 18">
              <a:extLst>
                <a:ext uri="{FF2B5EF4-FFF2-40B4-BE49-F238E27FC236}">
                  <a16:creationId xmlns:a16="http://schemas.microsoft.com/office/drawing/2014/main" id="{957124A5-BE58-C0D2-DAF7-B5FA0FB70572}"/>
                </a:ext>
              </a:extLst>
            </p:cNvPr>
            <p:cNvSpPr/>
            <p:nvPr userDrawn="1"/>
          </p:nvSpPr>
          <p:spPr>
            <a:xfrm rot="5400000">
              <a:off x="-612940" y="3309234"/>
              <a:ext cx="454415" cy="254029"/>
            </a:xfrm>
            <a:prstGeom prst="rect">
              <a:avLst/>
            </a:prstGeom>
            <a:solidFill>
              <a:srgbClr val="00A3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Green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163 / 161</a:t>
              </a:r>
            </a:p>
          </p:txBody>
        </p:sp>
        <p:sp>
          <p:nvSpPr>
            <p:cNvPr id="19" name="Rectangle 19">
              <a:extLst>
                <a:ext uri="{FF2B5EF4-FFF2-40B4-BE49-F238E27FC236}">
                  <a16:creationId xmlns:a16="http://schemas.microsoft.com/office/drawing/2014/main" id="{E0F7B186-5BA4-3245-719E-7F2C63192DF4}"/>
                </a:ext>
              </a:extLst>
            </p:cNvPr>
            <p:cNvSpPr/>
            <p:nvPr userDrawn="1"/>
          </p:nvSpPr>
          <p:spPr>
            <a:xfrm rot="5400000">
              <a:off x="-612940" y="3807686"/>
              <a:ext cx="454415" cy="254029"/>
            </a:xfrm>
            <a:prstGeom prst="rect">
              <a:avLst/>
            </a:prstGeom>
            <a:solidFill>
              <a:srgbClr val="009A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rk Green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154 / 68</a:t>
              </a:r>
            </a:p>
          </p:txBody>
        </p:sp>
        <p:sp>
          <p:nvSpPr>
            <p:cNvPr id="20" name="Rectangle 20">
              <a:extLst>
                <a:ext uri="{FF2B5EF4-FFF2-40B4-BE49-F238E27FC236}">
                  <a16:creationId xmlns:a16="http://schemas.microsoft.com/office/drawing/2014/main" id="{E52FF749-723D-A45D-AF3E-62A558623983}"/>
                </a:ext>
              </a:extLst>
            </p:cNvPr>
            <p:cNvSpPr/>
            <p:nvPr userDrawn="1"/>
          </p:nvSpPr>
          <p:spPr>
            <a:xfrm rot="5400000">
              <a:off x="-612940" y="4306139"/>
              <a:ext cx="454415" cy="254029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ght Green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67 / 176 / 42</a:t>
              </a:r>
            </a:p>
          </p:txBody>
        </p:sp>
        <p:sp>
          <p:nvSpPr>
            <p:cNvPr id="21" name="Rectangle 21">
              <a:extLst>
                <a:ext uri="{FF2B5EF4-FFF2-40B4-BE49-F238E27FC236}">
                  <a16:creationId xmlns:a16="http://schemas.microsoft.com/office/drawing/2014/main" id="{F5DA764D-964A-44A9-3755-86EE5EECB626}"/>
                </a:ext>
              </a:extLst>
            </p:cNvPr>
            <p:cNvSpPr/>
            <p:nvPr userDrawn="1"/>
          </p:nvSpPr>
          <p:spPr>
            <a:xfrm rot="5400000">
              <a:off x="-612940" y="4804591"/>
              <a:ext cx="454415" cy="254029"/>
            </a:xfrm>
            <a:prstGeom prst="rect">
              <a:avLst/>
            </a:prstGeom>
            <a:solidFill>
              <a:srgbClr val="EAA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Yellow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34 / 170 / 0</a:t>
              </a:r>
            </a:p>
          </p:txBody>
        </p:sp>
        <p:sp>
          <p:nvSpPr>
            <p:cNvPr id="24" name="Rectangle 22">
              <a:extLst>
                <a:ext uri="{FF2B5EF4-FFF2-40B4-BE49-F238E27FC236}">
                  <a16:creationId xmlns:a16="http://schemas.microsoft.com/office/drawing/2014/main" id="{F8A8622E-6005-68E8-D89D-2E46A856BB3C}"/>
                </a:ext>
              </a:extLst>
            </p:cNvPr>
            <p:cNvSpPr/>
            <p:nvPr userDrawn="1"/>
          </p:nvSpPr>
          <p:spPr>
            <a:xfrm rot="5400000">
              <a:off x="-612940" y="5303043"/>
              <a:ext cx="454415" cy="254029"/>
            </a:xfrm>
            <a:prstGeom prst="rect">
              <a:avLst/>
            </a:prstGeom>
            <a:solidFill>
              <a:srgbClr val="F68D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Orang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46 / 141 / 46</a:t>
              </a:r>
            </a:p>
          </p:txBody>
        </p:sp>
        <p:sp>
          <p:nvSpPr>
            <p:cNvPr id="25" name="Rectangle 23">
              <a:extLst>
                <a:ext uri="{FF2B5EF4-FFF2-40B4-BE49-F238E27FC236}">
                  <a16:creationId xmlns:a16="http://schemas.microsoft.com/office/drawing/2014/main" id="{0297EE63-76E0-770A-ECA4-2A12B92A2D9C}"/>
                </a:ext>
              </a:extLst>
            </p:cNvPr>
            <p:cNvSpPr/>
            <p:nvPr userDrawn="1"/>
          </p:nvSpPr>
          <p:spPr>
            <a:xfrm rot="5400000">
              <a:off x="-612940" y="5801496"/>
              <a:ext cx="454415" cy="254029"/>
            </a:xfrm>
            <a:prstGeom prst="rect">
              <a:avLst/>
            </a:prstGeom>
            <a:solidFill>
              <a:srgbClr val="BC2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ed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88 / 32 / 75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F3D8858-F80F-8A8E-05BC-E1B0820FD864}"/>
                </a:ext>
              </a:extLst>
            </p:cNvPr>
            <p:cNvSpPr/>
            <p:nvPr userDrawn="1"/>
          </p:nvSpPr>
          <p:spPr>
            <a:xfrm rot="5400000">
              <a:off x="-612940" y="6299948"/>
              <a:ext cx="454415" cy="254029"/>
            </a:xfrm>
            <a:prstGeom prst="rect">
              <a:avLst/>
            </a:prstGeom>
            <a:solidFill>
              <a:srgbClr val="C600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ink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98 / 0 / 126</a:t>
              </a:r>
            </a:p>
          </p:txBody>
        </p:sp>
        <p:sp>
          <p:nvSpPr>
            <p:cNvPr id="27" name="Rectangle 5">
              <a:extLst>
                <a:ext uri="{FF2B5EF4-FFF2-40B4-BE49-F238E27FC236}">
                  <a16:creationId xmlns:a16="http://schemas.microsoft.com/office/drawing/2014/main" id="{24B5A82F-752F-B414-4346-39167B5155D6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75526"/>
              <a:ext cx="143082" cy="142065"/>
            </a:xfrm>
            <a:prstGeom prst="rect">
              <a:avLst/>
            </a:prstGeom>
            <a:solidFill>
              <a:srgbClr val="4066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" name="Rectangle 36">
              <a:extLst>
                <a:ext uri="{FF2B5EF4-FFF2-40B4-BE49-F238E27FC236}">
                  <a16:creationId xmlns:a16="http://schemas.microsoft.com/office/drawing/2014/main" id="{574B5FA7-A199-DA99-A59E-EFE92AB20A56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548093"/>
              <a:ext cx="143082" cy="142065"/>
            </a:xfrm>
            <a:prstGeom prst="rect">
              <a:avLst/>
            </a:prstGeom>
            <a:solidFill>
              <a:srgbClr val="8099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9" name="Rectangle 31">
              <a:extLst>
                <a:ext uri="{FF2B5EF4-FFF2-40B4-BE49-F238E27FC236}">
                  <a16:creationId xmlns:a16="http://schemas.microsoft.com/office/drawing/2014/main" id="{E32F2F12-AF87-3750-3593-9F1B1C2D287D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720659"/>
              <a:ext cx="143082" cy="142065"/>
            </a:xfrm>
            <a:prstGeom prst="rect">
              <a:avLst/>
            </a:prstGeom>
            <a:solidFill>
              <a:srgbClr val="BFCC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0" name="Rectangle 6">
              <a:extLst>
                <a:ext uri="{FF2B5EF4-FFF2-40B4-BE49-F238E27FC236}">
                  <a16:creationId xmlns:a16="http://schemas.microsoft.com/office/drawing/2014/main" id="{4E75177B-11B4-DD1F-34CA-5281FD9A1902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446322"/>
              <a:ext cx="143082" cy="142065"/>
            </a:xfrm>
            <a:prstGeom prst="rect">
              <a:avLst/>
            </a:prstGeom>
            <a:solidFill>
              <a:srgbClr val="7668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1" name="Rectangle 19">
              <a:extLst>
                <a:ext uri="{FF2B5EF4-FFF2-40B4-BE49-F238E27FC236}">
                  <a16:creationId xmlns:a16="http://schemas.microsoft.com/office/drawing/2014/main" id="{69279FAE-4A84-B916-23CE-778EDA6F0EBE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618888"/>
              <a:ext cx="143082" cy="142065"/>
            </a:xfrm>
            <a:prstGeom prst="rect">
              <a:avLst/>
            </a:prstGeom>
            <a:solidFill>
              <a:srgbClr val="A39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2" name="Rectangle 32">
              <a:extLst>
                <a:ext uri="{FF2B5EF4-FFF2-40B4-BE49-F238E27FC236}">
                  <a16:creationId xmlns:a16="http://schemas.microsoft.com/office/drawing/2014/main" id="{1C5EC34F-1E53-0D02-F61C-346604206ABE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791454"/>
              <a:ext cx="143082" cy="142065"/>
            </a:xfrm>
            <a:prstGeom prst="rect">
              <a:avLst/>
            </a:prstGeom>
            <a:solidFill>
              <a:srgbClr val="D1CD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477876CD-CF80-3B4E-F414-489298390C8A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898555"/>
              <a:ext cx="143082" cy="142065"/>
            </a:xfrm>
            <a:prstGeom prst="rect">
              <a:avLst/>
            </a:prstGeom>
            <a:solidFill>
              <a:srgbClr val="40BA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4" name="Rectangle 20">
              <a:extLst>
                <a:ext uri="{FF2B5EF4-FFF2-40B4-BE49-F238E27FC236}">
                  <a16:creationId xmlns:a16="http://schemas.microsoft.com/office/drawing/2014/main" id="{DD8B5930-61E8-B588-B8AF-8479C32DBE49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071121"/>
              <a:ext cx="143082" cy="142065"/>
            </a:xfrm>
            <a:prstGeom prst="rect">
              <a:avLst/>
            </a:prstGeom>
            <a:solidFill>
              <a:srgbClr val="80D1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5" name="Rectangle 33">
              <a:extLst>
                <a:ext uri="{FF2B5EF4-FFF2-40B4-BE49-F238E27FC236}">
                  <a16:creationId xmlns:a16="http://schemas.microsoft.com/office/drawing/2014/main" id="{C5BD39BB-05A7-A375-540B-1D3C8E735B9A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243687"/>
              <a:ext cx="143082" cy="142065"/>
            </a:xfrm>
            <a:prstGeom prst="rect">
              <a:avLst/>
            </a:prstGeom>
            <a:solidFill>
              <a:srgbClr val="BF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6" name="Rectangle 8">
              <a:extLst>
                <a:ext uri="{FF2B5EF4-FFF2-40B4-BE49-F238E27FC236}">
                  <a16:creationId xmlns:a16="http://schemas.microsoft.com/office/drawing/2014/main" id="{D77DECAC-9B56-C614-371C-28FA5C804013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969350"/>
              <a:ext cx="143082" cy="142065"/>
            </a:xfrm>
            <a:prstGeom prst="rect">
              <a:avLst/>
            </a:prstGeom>
            <a:solidFill>
              <a:srgbClr val="EFBF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7" name="Rectangle 21">
              <a:extLst>
                <a:ext uri="{FF2B5EF4-FFF2-40B4-BE49-F238E27FC236}">
                  <a16:creationId xmlns:a16="http://schemas.microsoft.com/office/drawing/2014/main" id="{185DA447-9E72-6882-ADDB-0C25799DDF83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6141916"/>
              <a:ext cx="143082" cy="142065"/>
            </a:xfrm>
            <a:prstGeom prst="rect">
              <a:avLst/>
            </a:prstGeom>
            <a:solidFill>
              <a:srgbClr val="F5D4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8" name="Rectangle 34">
              <a:extLst>
                <a:ext uri="{FF2B5EF4-FFF2-40B4-BE49-F238E27FC236}">
                  <a16:creationId xmlns:a16="http://schemas.microsoft.com/office/drawing/2014/main" id="{E47DAE19-F34D-B6ED-12C5-C7A5198B7AA6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6314483"/>
              <a:ext cx="143082" cy="142065"/>
            </a:xfrm>
            <a:prstGeom prst="rect">
              <a:avLst/>
            </a:prstGeom>
            <a:solidFill>
              <a:srgbClr val="FAEA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9" name="Rectangle 9">
              <a:extLst>
                <a:ext uri="{FF2B5EF4-FFF2-40B4-BE49-F238E27FC236}">
                  <a16:creationId xmlns:a16="http://schemas.microsoft.com/office/drawing/2014/main" id="{D8BB77C9-0789-C262-FAB4-57F64271667C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756056"/>
              <a:ext cx="143082" cy="142065"/>
            </a:xfrm>
            <a:prstGeom prst="rect">
              <a:avLst/>
            </a:prstGeom>
            <a:solidFill>
              <a:srgbClr val="40AC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0" name="Rectangle 22">
              <a:extLst>
                <a:ext uri="{FF2B5EF4-FFF2-40B4-BE49-F238E27FC236}">
                  <a16:creationId xmlns:a16="http://schemas.microsoft.com/office/drawing/2014/main" id="{52B0DC0C-EAEE-729D-16E8-5E0465B1FDC0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928623"/>
              <a:ext cx="143082" cy="142065"/>
            </a:xfrm>
            <a:prstGeom prst="rect">
              <a:avLst/>
            </a:prstGeom>
            <a:solidFill>
              <a:srgbClr val="80C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8AF8529B-4B70-39B2-6642-1453E8205D8E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101189"/>
              <a:ext cx="143082" cy="142065"/>
            </a:xfrm>
            <a:prstGeom prst="rect">
              <a:avLst/>
            </a:prstGeom>
            <a:solidFill>
              <a:srgbClr val="BFE3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2" name="Rectangle 11">
              <a:extLst>
                <a:ext uri="{FF2B5EF4-FFF2-40B4-BE49-F238E27FC236}">
                  <a16:creationId xmlns:a16="http://schemas.microsoft.com/office/drawing/2014/main" id="{F0379224-F950-53AF-46F7-26AB3A3CF7B7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279085"/>
              <a:ext cx="143082" cy="142065"/>
            </a:xfrm>
            <a:prstGeom prst="rect">
              <a:avLst/>
            </a:prstGeom>
            <a:solidFill>
              <a:srgbClr val="72B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3" name="Rectangle 24">
              <a:extLst>
                <a:ext uri="{FF2B5EF4-FFF2-40B4-BE49-F238E27FC236}">
                  <a16:creationId xmlns:a16="http://schemas.microsoft.com/office/drawing/2014/main" id="{227533F0-83B3-59CE-5D2E-EB6AB72062B5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451651"/>
              <a:ext cx="143082" cy="142065"/>
            </a:xfrm>
            <a:prstGeom prst="rect">
              <a:avLst/>
            </a:prstGeom>
            <a:solidFill>
              <a:srgbClr val="A1D3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4" name="Rectangle 55">
              <a:extLst>
                <a:ext uri="{FF2B5EF4-FFF2-40B4-BE49-F238E27FC236}">
                  <a16:creationId xmlns:a16="http://schemas.microsoft.com/office/drawing/2014/main" id="{73269F47-9F89-5365-AB9E-BC58EA94C65F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624218"/>
              <a:ext cx="143082" cy="142065"/>
            </a:xfrm>
            <a:prstGeom prst="rect">
              <a:avLst/>
            </a:prstGeom>
            <a:solidFill>
              <a:srgbClr val="D0E9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5" name="Rectangle 13">
              <a:extLst>
                <a:ext uri="{FF2B5EF4-FFF2-40B4-BE49-F238E27FC236}">
                  <a16:creationId xmlns:a16="http://schemas.microsoft.com/office/drawing/2014/main" id="{2F46E519-F75E-E0F9-985C-6A8D0F9CB1F7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065791"/>
              <a:ext cx="143082" cy="142065"/>
            </a:xfrm>
            <a:prstGeom prst="rect">
              <a:avLst/>
            </a:prstGeom>
            <a:solidFill>
              <a:srgbClr val="4086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6" name="Rectangle 26">
              <a:extLst>
                <a:ext uri="{FF2B5EF4-FFF2-40B4-BE49-F238E27FC236}">
                  <a16:creationId xmlns:a16="http://schemas.microsoft.com/office/drawing/2014/main" id="{CA552A99-F32D-B0D6-9796-1404B4EF69E2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238358"/>
              <a:ext cx="143082" cy="142065"/>
            </a:xfrm>
            <a:prstGeom prst="rect">
              <a:avLst/>
            </a:prstGeom>
            <a:solidFill>
              <a:srgbClr val="80AE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7" name="Rectangle 39">
              <a:extLst>
                <a:ext uri="{FF2B5EF4-FFF2-40B4-BE49-F238E27FC236}">
                  <a16:creationId xmlns:a16="http://schemas.microsoft.com/office/drawing/2014/main" id="{B315D26E-557D-F737-E5DD-2DD9225E40CA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410924"/>
              <a:ext cx="143082" cy="142065"/>
            </a:xfrm>
            <a:prstGeom prst="rect">
              <a:avLst/>
            </a:prstGeom>
            <a:solidFill>
              <a:srgbClr val="BFD7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8" name="Rectangle 14">
              <a:extLst>
                <a:ext uri="{FF2B5EF4-FFF2-40B4-BE49-F238E27FC236}">
                  <a16:creationId xmlns:a16="http://schemas.microsoft.com/office/drawing/2014/main" id="{F276317F-4A43-ABDE-F9CF-3615BA6F9B0E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136587"/>
              <a:ext cx="143082" cy="142065"/>
            </a:xfrm>
            <a:prstGeom prst="rect">
              <a:avLst/>
            </a:prstGeom>
            <a:solidFill>
              <a:srgbClr val="7747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9" name="Rectangle 27">
              <a:extLst>
                <a:ext uri="{FF2B5EF4-FFF2-40B4-BE49-F238E27FC236}">
                  <a16:creationId xmlns:a16="http://schemas.microsoft.com/office/drawing/2014/main" id="{CAD97708-A08E-7C1D-9311-98254647F229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309153"/>
              <a:ext cx="143082" cy="142065"/>
            </a:xfrm>
            <a:prstGeom prst="rect">
              <a:avLst/>
            </a:prstGeom>
            <a:solidFill>
              <a:srgbClr val="A485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0" name="Rectangle 40">
              <a:extLst>
                <a:ext uri="{FF2B5EF4-FFF2-40B4-BE49-F238E27FC236}">
                  <a16:creationId xmlns:a16="http://schemas.microsoft.com/office/drawing/2014/main" id="{71BF0D25-6943-6F50-3AED-4D384C076BDF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481719"/>
              <a:ext cx="143082" cy="142065"/>
            </a:xfrm>
            <a:prstGeom prst="rect">
              <a:avLst/>
            </a:prstGeom>
            <a:solidFill>
              <a:srgbClr val="D2C2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1" name="Rectangle 15">
              <a:extLst>
                <a:ext uri="{FF2B5EF4-FFF2-40B4-BE49-F238E27FC236}">
                  <a16:creationId xmlns:a16="http://schemas.microsoft.com/office/drawing/2014/main" id="{2EF040A1-B72E-8D42-665E-93C23C75A889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588820"/>
              <a:ext cx="143082" cy="142065"/>
            </a:xfrm>
            <a:prstGeom prst="rect">
              <a:avLst/>
            </a:prstGeom>
            <a:solidFill>
              <a:srgbClr val="40B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2" name="Rectangle 28">
              <a:extLst>
                <a:ext uri="{FF2B5EF4-FFF2-40B4-BE49-F238E27FC236}">
                  <a16:creationId xmlns:a16="http://schemas.microsoft.com/office/drawing/2014/main" id="{E7873F44-5F9B-718C-FCDD-53CAAD190EB8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761386"/>
              <a:ext cx="143082" cy="142065"/>
            </a:xfrm>
            <a:prstGeom prst="rect">
              <a:avLst/>
            </a:prstGeom>
            <a:solidFill>
              <a:srgbClr val="80CD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3" name="Rectangle 41">
              <a:extLst>
                <a:ext uri="{FF2B5EF4-FFF2-40B4-BE49-F238E27FC236}">
                  <a16:creationId xmlns:a16="http://schemas.microsoft.com/office/drawing/2014/main" id="{505AEAC4-FAF3-E924-FFF0-C933AE1B9F1D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933953"/>
              <a:ext cx="143082" cy="142065"/>
            </a:xfrm>
            <a:prstGeom prst="rect">
              <a:avLst/>
            </a:prstGeom>
            <a:solidFill>
              <a:srgbClr val="BFE6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4" name="Rectangle 5">
              <a:extLst>
                <a:ext uri="{FF2B5EF4-FFF2-40B4-BE49-F238E27FC236}">
                  <a16:creationId xmlns:a16="http://schemas.microsoft.com/office/drawing/2014/main" id="{B9BF2829-FBCF-FE47-C591-425CD1F7484A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02959"/>
              <a:ext cx="143082" cy="142065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5" name="Rectangle 6">
              <a:extLst>
                <a:ext uri="{FF2B5EF4-FFF2-40B4-BE49-F238E27FC236}">
                  <a16:creationId xmlns:a16="http://schemas.microsoft.com/office/drawing/2014/main" id="{2C764C79-9001-0F21-85E1-D4EFB19BCAA2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273755"/>
              <a:ext cx="143082" cy="142065"/>
            </a:xfrm>
            <a:prstGeom prst="rect">
              <a:avLst/>
            </a:prstGeom>
            <a:solidFill>
              <a:srgbClr val="483698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6" name="Rectangle 7">
              <a:extLst>
                <a:ext uri="{FF2B5EF4-FFF2-40B4-BE49-F238E27FC236}">
                  <a16:creationId xmlns:a16="http://schemas.microsoft.com/office/drawing/2014/main" id="{5C2C5A35-4576-977A-6F99-9F2B4B0EC826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725989"/>
              <a:ext cx="143082" cy="142065"/>
            </a:xfrm>
            <a:prstGeom prst="rect">
              <a:avLst/>
            </a:prstGeom>
            <a:solidFill>
              <a:srgbClr val="00A3A1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7" name="Rectangle 8">
              <a:extLst>
                <a:ext uri="{FF2B5EF4-FFF2-40B4-BE49-F238E27FC236}">
                  <a16:creationId xmlns:a16="http://schemas.microsoft.com/office/drawing/2014/main" id="{917E5048-CF84-0DDD-47CE-277F756C7F42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796784"/>
              <a:ext cx="143082" cy="142065"/>
            </a:xfrm>
            <a:prstGeom prst="rect">
              <a:avLst/>
            </a:prstGeom>
            <a:solidFill>
              <a:srgbClr val="EAAA00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8" name="Rectangle 9">
              <a:extLst>
                <a:ext uri="{FF2B5EF4-FFF2-40B4-BE49-F238E27FC236}">
                  <a16:creationId xmlns:a16="http://schemas.microsoft.com/office/drawing/2014/main" id="{EE85B471-1328-2A82-8BEE-284B54D03859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583490"/>
              <a:ext cx="143082" cy="142065"/>
            </a:xfrm>
            <a:prstGeom prst="rect">
              <a:avLst/>
            </a:prstGeom>
            <a:solidFill>
              <a:srgbClr val="0091DA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9" name="Rectangle 11">
              <a:extLst>
                <a:ext uri="{FF2B5EF4-FFF2-40B4-BE49-F238E27FC236}">
                  <a16:creationId xmlns:a16="http://schemas.microsoft.com/office/drawing/2014/main" id="{015C6ADE-BE64-DD5B-728D-1A896FB8B398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106519"/>
              <a:ext cx="143082" cy="14206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0" name="Rectangle 13">
              <a:extLst>
                <a:ext uri="{FF2B5EF4-FFF2-40B4-BE49-F238E27FC236}">
                  <a16:creationId xmlns:a16="http://schemas.microsoft.com/office/drawing/2014/main" id="{ECCBFB07-88A0-986B-8B0E-DC35691B6745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893225"/>
              <a:ext cx="143082" cy="142065"/>
            </a:xfrm>
            <a:prstGeom prst="rect">
              <a:avLst/>
            </a:prstGeom>
            <a:solidFill>
              <a:srgbClr val="005EB8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1" name="Rectangle 14">
              <a:extLst>
                <a:ext uri="{FF2B5EF4-FFF2-40B4-BE49-F238E27FC236}">
                  <a16:creationId xmlns:a16="http://schemas.microsoft.com/office/drawing/2014/main" id="{70B552A8-2820-05B3-5B7A-C623D6FBF28A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964020"/>
              <a:ext cx="143082" cy="142065"/>
            </a:xfrm>
            <a:prstGeom prst="rect">
              <a:avLst/>
            </a:prstGeom>
            <a:solidFill>
              <a:srgbClr val="470A68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2" name="Rectangle 15">
              <a:extLst>
                <a:ext uri="{FF2B5EF4-FFF2-40B4-BE49-F238E27FC236}">
                  <a16:creationId xmlns:a16="http://schemas.microsoft.com/office/drawing/2014/main" id="{24FD5D5D-1000-8554-483B-F2B4F2C92633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416254"/>
              <a:ext cx="143082" cy="142065"/>
            </a:xfrm>
            <a:prstGeom prst="rect">
              <a:avLst/>
            </a:prstGeom>
            <a:solidFill>
              <a:srgbClr val="009A44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DE920EAB-4F9E-4736-626F-18725D0137AD}"/>
              </a:ext>
            </a:extLst>
          </p:cNvPr>
          <p:cNvGrpSpPr/>
          <p:nvPr userDrawn="1"/>
        </p:nvGrpSpPr>
        <p:grpSpPr>
          <a:xfrm>
            <a:off x="-1686237" y="249507"/>
            <a:ext cx="905097" cy="1763289"/>
            <a:chOff x="-2426585" y="2628263"/>
            <a:chExt cx="1763779" cy="1763289"/>
          </a:xfrm>
        </p:grpSpPr>
        <p:sp>
          <p:nvSpPr>
            <p:cNvPr id="9" name="Rectangle 3">
              <a:extLst>
                <a:ext uri="{FF2B5EF4-FFF2-40B4-BE49-F238E27FC236}">
                  <a16:creationId xmlns:a16="http://schemas.microsoft.com/office/drawing/2014/main" id="{CB432D26-817D-36A2-BF0B-51909A4AFF67}"/>
                </a:ext>
              </a:extLst>
            </p:cNvPr>
            <p:cNvSpPr/>
            <p:nvPr/>
          </p:nvSpPr>
          <p:spPr>
            <a:xfrm>
              <a:off x="-2426585" y="2880263"/>
              <a:ext cx="763000" cy="252000"/>
            </a:xfrm>
            <a:prstGeom prst="rect">
              <a:avLst/>
            </a:prstGeom>
            <a:solidFill>
              <a:srgbClr val="1E49E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 / 73 / 226</a:t>
              </a:r>
            </a:p>
          </p:txBody>
        </p:sp>
        <p:sp>
          <p:nvSpPr>
            <p:cNvPr id="63" name="Rectangle 4">
              <a:extLst>
                <a:ext uri="{FF2B5EF4-FFF2-40B4-BE49-F238E27FC236}">
                  <a16:creationId xmlns:a16="http://schemas.microsoft.com/office/drawing/2014/main" id="{2854B41D-7CF3-B64D-164E-77041B85D6A7}"/>
                </a:ext>
              </a:extLst>
            </p:cNvPr>
            <p:cNvSpPr/>
            <p:nvPr/>
          </p:nvSpPr>
          <p:spPr>
            <a:xfrm>
              <a:off x="-2426585" y="2628405"/>
              <a:ext cx="763000" cy="252000"/>
            </a:xfrm>
            <a:prstGeom prst="rect">
              <a:avLst/>
            </a:prstGeom>
            <a:solidFill>
              <a:srgbClr val="00338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 / 51 / 141</a:t>
              </a:r>
            </a:p>
          </p:txBody>
        </p:sp>
        <p:sp>
          <p:nvSpPr>
            <p:cNvPr id="64" name="Rectangle 5">
              <a:extLst>
                <a:ext uri="{FF2B5EF4-FFF2-40B4-BE49-F238E27FC236}">
                  <a16:creationId xmlns:a16="http://schemas.microsoft.com/office/drawing/2014/main" id="{9AD1AF6C-4E46-2063-A0CB-38AA42753907}"/>
                </a:ext>
              </a:extLst>
            </p:cNvPr>
            <p:cNvSpPr/>
            <p:nvPr/>
          </p:nvSpPr>
          <p:spPr>
            <a:xfrm>
              <a:off x="-2426585" y="3132121"/>
              <a:ext cx="763000" cy="252000"/>
            </a:xfrm>
            <a:prstGeom prst="rect">
              <a:avLst/>
            </a:prstGeom>
            <a:solidFill>
              <a:srgbClr val="0C233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 / 35 / 60</a:t>
              </a:r>
            </a:p>
          </p:txBody>
        </p:sp>
        <p:sp>
          <p:nvSpPr>
            <p:cNvPr id="65" name="Rectangle 6">
              <a:extLst>
                <a:ext uri="{FF2B5EF4-FFF2-40B4-BE49-F238E27FC236}">
                  <a16:creationId xmlns:a16="http://schemas.microsoft.com/office/drawing/2014/main" id="{00E0BAAA-A752-A5F2-03A2-8477383E1A5D}"/>
                </a:ext>
              </a:extLst>
            </p:cNvPr>
            <p:cNvSpPr/>
            <p:nvPr/>
          </p:nvSpPr>
          <p:spPr>
            <a:xfrm>
              <a:off x="-2426585" y="3383979"/>
              <a:ext cx="763000" cy="252000"/>
            </a:xfrm>
            <a:prstGeom prst="rect">
              <a:avLst/>
            </a:prstGeom>
            <a:solidFill>
              <a:srgbClr val="ACEA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72 / 234 / 255</a:t>
              </a:r>
            </a:p>
          </p:txBody>
        </p:sp>
        <p:sp>
          <p:nvSpPr>
            <p:cNvPr id="66" name="Rectangle 19">
              <a:extLst>
                <a:ext uri="{FF2B5EF4-FFF2-40B4-BE49-F238E27FC236}">
                  <a16:creationId xmlns:a16="http://schemas.microsoft.com/office/drawing/2014/main" id="{2206FC2C-CD06-939B-3202-DFDCB6E869B0}"/>
                </a:ext>
              </a:extLst>
            </p:cNvPr>
            <p:cNvSpPr/>
            <p:nvPr/>
          </p:nvSpPr>
          <p:spPr>
            <a:xfrm>
              <a:off x="-2426585" y="3635837"/>
              <a:ext cx="763000" cy="252000"/>
            </a:xfrm>
            <a:prstGeom prst="rect">
              <a:avLst/>
            </a:prstGeom>
            <a:solidFill>
              <a:srgbClr val="00B8F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 / 184 / 245</a:t>
              </a:r>
            </a:p>
          </p:txBody>
        </p:sp>
        <p:sp>
          <p:nvSpPr>
            <p:cNvPr id="67" name="Rectangle 20">
              <a:extLst>
                <a:ext uri="{FF2B5EF4-FFF2-40B4-BE49-F238E27FC236}">
                  <a16:creationId xmlns:a16="http://schemas.microsoft.com/office/drawing/2014/main" id="{A84BE938-897B-940E-3D58-2128C9963CA4}"/>
                </a:ext>
              </a:extLst>
            </p:cNvPr>
            <p:cNvSpPr/>
            <p:nvPr/>
          </p:nvSpPr>
          <p:spPr>
            <a:xfrm>
              <a:off x="-2426585" y="3887695"/>
              <a:ext cx="763000" cy="252000"/>
            </a:xfrm>
            <a:prstGeom prst="rect">
              <a:avLst/>
            </a:prstGeom>
            <a:solidFill>
              <a:srgbClr val="7213E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14 / 19 / 234</a:t>
              </a:r>
            </a:p>
          </p:txBody>
        </p:sp>
        <p:sp>
          <p:nvSpPr>
            <p:cNvPr id="68" name="Rectangle 21">
              <a:extLst>
                <a:ext uri="{FF2B5EF4-FFF2-40B4-BE49-F238E27FC236}">
                  <a16:creationId xmlns:a16="http://schemas.microsoft.com/office/drawing/2014/main" id="{6846F51D-C173-C7C8-BA43-F2EDE1A2AF36}"/>
                </a:ext>
              </a:extLst>
            </p:cNvPr>
            <p:cNvSpPr/>
            <p:nvPr/>
          </p:nvSpPr>
          <p:spPr>
            <a:xfrm>
              <a:off x="-2426585" y="4139552"/>
              <a:ext cx="763000" cy="252000"/>
            </a:xfrm>
            <a:prstGeom prst="rect">
              <a:avLst/>
            </a:prstGeom>
            <a:solidFill>
              <a:srgbClr val="FD349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53 / 52 / 156</a:t>
              </a:r>
            </a:p>
          </p:txBody>
        </p:sp>
        <p:sp>
          <p:nvSpPr>
            <p:cNvPr id="69" name="Rectangle 3">
              <a:extLst>
                <a:ext uri="{FF2B5EF4-FFF2-40B4-BE49-F238E27FC236}">
                  <a16:creationId xmlns:a16="http://schemas.microsoft.com/office/drawing/2014/main" id="{68D74FD3-F618-E7B8-109D-C8BC604A231D}"/>
                </a:ext>
              </a:extLst>
            </p:cNvPr>
            <p:cNvSpPr/>
            <p:nvPr/>
          </p:nvSpPr>
          <p:spPr>
            <a:xfrm>
              <a:off x="-1667383" y="2880263"/>
              <a:ext cx="252000" cy="252000"/>
            </a:xfrm>
            <a:prstGeom prst="rect">
              <a:avLst/>
            </a:prstGeom>
            <a:solidFill>
              <a:srgbClr val="4B6D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Rectangle 4">
              <a:extLst>
                <a:ext uri="{FF2B5EF4-FFF2-40B4-BE49-F238E27FC236}">
                  <a16:creationId xmlns:a16="http://schemas.microsoft.com/office/drawing/2014/main" id="{608EFEA5-6BC4-6979-0E9A-7205256DD9DB}"/>
                </a:ext>
              </a:extLst>
            </p:cNvPr>
            <p:cNvSpPr/>
            <p:nvPr/>
          </p:nvSpPr>
          <p:spPr>
            <a:xfrm>
              <a:off x="-1667383" y="2628405"/>
              <a:ext cx="252000" cy="252000"/>
            </a:xfrm>
            <a:prstGeom prst="rect">
              <a:avLst/>
            </a:prstGeom>
            <a:solidFill>
              <a:srgbClr val="335CA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Rectangle 5">
              <a:extLst>
                <a:ext uri="{FF2B5EF4-FFF2-40B4-BE49-F238E27FC236}">
                  <a16:creationId xmlns:a16="http://schemas.microsoft.com/office/drawing/2014/main" id="{0E2F3642-F26E-76B1-34EF-C32DE31A9054}"/>
                </a:ext>
              </a:extLst>
            </p:cNvPr>
            <p:cNvSpPr/>
            <p:nvPr/>
          </p:nvSpPr>
          <p:spPr>
            <a:xfrm>
              <a:off x="-1667383" y="3132121"/>
              <a:ext cx="252000" cy="252000"/>
            </a:xfrm>
            <a:prstGeom prst="rect">
              <a:avLst/>
            </a:prstGeom>
            <a:solidFill>
              <a:srgbClr val="3D4F6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Rectangle 6">
              <a:extLst>
                <a:ext uri="{FF2B5EF4-FFF2-40B4-BE49-F238E27FC236}">
                  <a16:creationId xmlns:a16="http://schemas.microsoft.com/office/drawing/2014/main" id="{FB1D882D-4AB0-0190-A14E-1885D642D8EB}"/>
                </a:ext>
              </a:extLst>
            </p:cNvPr>
            <p:cNvSpPr/>
            <p:nvPr/>
          </p:nvSpPr>
          <p:spPr>
            <a:xfrm>
              <a:off x="-1667383" y="3383979"/>
              <a:ext cx="252000" cy="252000"/>
            </a:xfrm>
            <a:prstGeom prst="rect">
              <a:avLst/>
            </a:prstGeom>
            <a:solidFill>
              <a:srgbClr val="BDEE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Rectangle 19">
              <a:extLst>
                <a:ext uri="{FF2B5EF4-FFF2-40B4-BE49-F238E27FC236}">
                  <a16:creationId xmlns:a16="http://schemas.microsoft.com/office/drawing/2014/main" id="{F6F8932C-742E-925B-CE62-870B4ECCF640}"/>
                </a:ext>
              </a:extLst>
            </p:cNvPr>
            <p:cNvSpPr/>
            <p:nvPr/>
          </p:nvSpPr>
          <p:spPr>
            <a:xfrm>
              <a:off x="-1667383" y="3635837"/>
              <a:ext cx="252000" cy="252000"/>
            </a:xfrm>
            <a:prstGeom prst="rect">
              <a:avLst/>
            </a:prstGeom>
            <a:solidFill>
              <a:srgbClr val="33C6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Rectangle 20">
              <a:extLst>
                <a:ext uri="{FF2B5EF4-FFF2-40B4-BE49-F238E27FC236}">
                  <a16:creationId xmlns:a16="http://schemas.microsoft.com/office/drawing/2014/main" id="{A4F309E2-D28A-F421-2E1B-F1D592711AE5}"/>
                </a:ext>
              </a:extLst>
            </p:cNvPr>
            <p:cNvSpPr/>
            <p:nvPr/>
          </p:nvSpPr>
          <p:spPr>
            <a:xfrm>
              <a:off x="-1667383" y="3887695"/>
              <a:ext cx="252000" cy="252000"/>
            </a:xfrm>
            <a:prstGeom prst="rect">
              <a:avLst/>
            </a:prstGeom>
            <a:solidFill>
              <a:srgbClr val="8E42E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Rectangle 21">
              <a:extLst>
                <a:ext uri="{FF2B5EF4-FFF2-40B4-BE49-F238E27FC236}">
                  <a16:creationId xmlns:a16="http://schemas.microsoft.com/office/drawing/2014/main" id="{92B18F18-490E-79C4-6A8F-D59F76F48688}"/>
                </a:ext>
              </a:extLst>
            </p:cNvPr>
            <p:cNvSpPr/>
            <p:nvPr/>
          </p:nvSpPr>
          <p:spPr>
            <a:xfrm>
              <a:off x="-1667383" y="4139552"/>
              <a:ext cx="252000" cy="252000"/>
            </a:xfrm>
            <a:prstGeom prst="rect">
              <a:avLst/>
            </a:prstGeom>
            <a:solidFill>
              <a:srgbClr val="FD5DB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Rectangle 3">
              <a:extLst>
                <a:ext uri="{FF2B5EF4-FFF2-40B4-BE49-F238E27FC236}">
                  <a16:creationId xmlns:a16="http://schemas.microsoft.com/office/drawing/2014/main" id="{C5B74AE7-BDFF-7FD6-1171-6F72697B96CB}"/>
                </a:ext>
              </a:extLst>
            </p:cNvPr>
            <p:cNvSpPr/>
            <p:nvPr/>
          </p:nvSpPr>
          <p:spPr>
            <a:xfrm>
              <a:off x="-1415383" y="2880263"/>
              <a:ext cx="252000" cy="252000"/>
            </a:xfrm>
            <a:prstGeom prst="rect">
              <a:avLst/>
            </a:prstGeom>
            <a:solidFill>
              <a:srgbClr val="7892E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Rectangle 4">
              <a:extLst>
                <a:ext uri="{FF2B5EF4-FFF2-40B4-BE49-F238E27FC236}">
                  <a16:creationId xmlns:a16="http://schemas.microsoft.com/office/drawing/2014/main" id="{E1F3C05C-6752-CAFA-0FAC-707705D7EFA2}"/>
                </a:ext>
              </a:extLst>
            </p:cNvPr>
            <p:cNvSpPr/>
            <p:nvPr/>
          </p:nvSpPr>
          <p:spPr>
            <a:xfrm>
              <a:off x="-1415383" y="2628405"/>
              <a:ext cx="252000" cy="252000"/>
            </a:xfrm>
            <a:prstGeom prst="rect">
              <a:avLst/>
            </a:prstGeom>
            <a:solidFill>
              <a:srgbClr val="6685B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Rectangle 5">
              <a:extLst>
                <a:ext uri="{FF2B5EF4-FFF2-40B4-BE49-F238E27FC236}">
                  <a16:creationId xmlns:a16="http://schemas.microsoft.com/office/drawing/2014/main" id="{311704FC-62A2-0174-29CB-488B436B5E47}"/>
                </a:ext>
              </a:extLst>
            </p:cNvPr>
            <p:cNvSpPr/>
            <p:nvPr/>
          </p:nvSpPr>
          <p:spPr>
            <a:xfrm>
              <a:off x="-1415383" y="3132121"/>
              <a:ext cx="252000" cy="252000"/>
            </a:xfrm>
            <a:prstGeom prst="rect">
              <a:avLst/>
            </a:prstGeom>
            <a:solidFill>
              <a:srgbClr val="6D7B8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Rectangle 6">
              <a:extLst>
                <a:ext uri="{FF2B5EF4-FFF2-40B4-BE49-F238E27FC236}">
                  <a16:creationId xmlns:a16="http://schemas.microsoft.com/office/drawing/2014/main" id="{2E87F6B0-034F-9BB1-FDEC-ACD53CFAE60D}"/>
                </a:ext>
              </a:extLst>
            </p:cNvPr>
            <p:cNvSpPr/>
            <p:nvPr/>
          </p:nvSpPr>
          <p:spPr>
            <a:xfrm>
              <a:off x="-1415383" y="3383979"/>
              <a:ext cx="252000" cy="252000"/>
            </a:xfrm>
            <a:prstGeom prst="rect">
              <a:avLst/>
            </a:prstGeom>
            <a:solidFill>
              <a:srgbClr val="CDF2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Rectangle 19">
              <a:extLst>
                <a:ext uri="{FF2B5EF4-FFF2-40B4-BE49-F238E27FC236}">
                  <a16:creationId xmlns:a16="http://schemas.microsoft.com/office/drawing/2014/main" id="{AA12C3E3-83CB-3F9F-4C1D-27F7FF30B806}"/>
                </a:ext>
              </a:extLst>
            </p:cNvPr>
            <p:cNvSpPr/>
            <p:nvPr/>
          </p:nvSpPr>
          <p:spPr>
            <a:xfrm>
              <a:off x="-1415383" y="3635837"/>
              <a:ext cx="252000" cy="252000"/>
            </a:xfrm>
            <a:prstGeom prst="rect">
              <a:avLst/>
            </a:prstGeom>
            <a:solidFill>
              <a:srgbClr val="66D4F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Rectangle 20">
              <a:extLst>
                <a:ext uri="{FF2B5EF4-FFF2-40B4-BE49-F238E27FC236}">
                  <a16:creationId xmlns:a16="http://schemas.microsoft.com/office/drawing/2014/main" id="{C6EA2ACC-98BE-2773-5F8D-78DBE73E7A6B}"/>
                </a:ext>
              </a:extLst>
            </p:cNvPr>
            <p:cNvSpPr/>
            <p:nvPr/>
          </p:nvSpPr>
          <p:spPr>
            <a:xfrm>
              <a:off x="-1415383" y="3887695"/>
              <a:ext cx="252000" cy="252000"/>
            </a:xfrm>
            <a:prstGeom prst="rect">
              <a:avLst/>
            </a:prstGeom>
            <a:solidFill>
              <a:srgbClr val="AA71F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Rectangle 21">
              <a:extLst>
                <a:ext uri="{FF2B5EF4-FFF2-40B4-BE49-F238E27FC236}">
                  <a16:creationId xmlns:a16="http://schemas.microsoft.com/office/drawing/2014/main" id="{BF20D74B-F22A-066A-19B0-62215A2A9E07}"/>
                </a:ext>
              </a:extLst>
            </p:cNvPr>
            <p:cNvSpPr/>
            <p:nvPr/>
          </p:nvSpPr>
          <p:spPr>
            <a:xfrm>
              <a:off x="-1415383" y="4139552"/>
              <a:ext cx="252000" cy="252000"/>
            </a:xfrm>
            <a:prstGeom prst="rect">
              <a:avLst/>
            </a:prstGeom>
            <a:solidFill>
              <a:srgbClr val="FE85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Rectangle 3">
              <a:extLst>
                <a:ext uri="{FF2B5EF4-FFF2-40B4-BE49-F238E27FC236}">
                  <a16:creationId xmlns:a16="http://schemas.microsoft.com/office/drawing/2014/main" id="{76D6B48E-E98D-E625-5CA5-41BB22659CB1}"/>
                </a:ext>
              </a:extLst>
            </p:cNvPr>
            <p:cNvSpPr/>
            <p:nvPr/>
          </p:nvSpPr>
          <p:spPr>
            <a:xfrm>
              <a:off x="-1166305" y="2880263"/>
              <a:ext cx="252000" cy="252000"/>
            </a:xfrm>
            <a:prstGeom prst="rect">
              <a:avLst/>
            </a:prstGeom>
            <a:solidFill>
              <a:srgbClr val="A5B6F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Rectangle 4">
              <a:extLst>
                <a:ext uri="{FF2B5EF4-FFF2-40B4-BE49-F238E27FC236}">
                  <a16:creationId xmlns:a16="http://schemas.microsoft.com/office/drawing/2014/main" id="{48B13B34-EB2F-725C-BF4F-A6F98A044470}"/>
                </a:ext>
              </a:extLst>
            </p:cNvPr>
            <p:cNvSpPr/>
            <p:nvPr/>
          </p:nvSpPr>
          <p:spPr>
            <a:xfrm>
              <a:off x="-1166305" y="2628405"/>
              <a:ext cx="252000" cy="252000"/>
            </a:xfrm>
            <a:prstGeom prst="rect">
              <a:avLst/>
            </a:prstGeom>
            <a:solidFill>
              <a:srgbClr val="99ADD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Rectangle 5">
              <a:extLst>
                <a:ext uri="{FF2B5EF4-FFF2-40B4-BE49-F238E27FC236}">
                  <a16:creationId xmlns:a16="http://schemas.microsoft.com/office/drawing/2014/main" id="{0A1FBD33-3EAC-D6AC-CC22-09DC3EA0D600}"/>
                </a:ext>
              </a:extLst>
            </p:cNvPr>
            <p:cNvSpPr/>
            <p:nvPr/>
          </p:nvSpPr>
          <p:spPr>
            <a:xfrm>
              <a:off x="-1166305" y="3132121"/>
              <a:ext cx="252000" cy="252000"/>
            </a:xfrm>
            <a:prstGeom prst="rect">
              <a:avLst/>
            </a:prstGeom>
            <a:solidFill>
              <a:srgbClr val="9EA7B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Rectangle 6">
              <a:extLst>
                <a:ext uri="{FF2B5EF4-FFF2-40B4-BE49-F238E27FC236}">
                  <a16:creationId xmlns:a16="http://schemas.microsoft.com/office/drawing/2014/main" id="{0576E637-A47D-A7B4-7127-698986790E00}"/>
                </a:ext>
              </a:extLst>
            </p:cNvPr>
            <p:cNvSpPr/>
            <p:nvPr/>
          </p:nvSpPr>
          <p:spPr>
            <a:xfrm>
              <a:off x="-1166305" y="3383979"/>
              <a:ext cx="252000" cy="252000"/>
            </a:xfrm>
            <a:prstGeom prst="rect">
              <a:avLst/>
            </a:prstGeom>
            <a:solidFill>
              <a:srgbClr val="DEF7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Rectangle 19">
              <a:extLst>
                <a:ext uri="{FF2B5EF4-FFF2-40B4-BE49-F238E27FC236}">
                  <a16:creationId xmlns:a16="http://schemas.microsoft.com/office/drawing/2014/main" id="{57AB7D89-2135-0497-1C76-E4E9C43F0F47}"/>
                </a:ext>
              </a:extLst>
            </p:cNvPr>
            <p:cNvSpPr/>
            <p:nvPr/>
          </p:nvSpPr>
          <p:spPr>
            <a:xfrm>
              <a:off x="-1166305" y="3635837"/>
              <a:ext cx="252000" cy="252000"/>
            </a:xfrm>
            <a:prstGeom prst="rect">
              <a:avLst/>
            </a:prstGeom>
            <a:solidFill>
              <a:srgbClr val="99E3F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Rectangle 20">
              <a:extLst>
                <a:ext uri="{FF2B5EF4-FFF2-40B4-BE49-F238E27FC236}">
                  <a16:creationId xmlns:a16="http://schemas.microsoft.com/office/drawing/2014/main" id="{4B6357FB-BD16-8DE6-1C9F-B47C74CCBD84}"/>
                </a:ext>
              </a:extLst>
            </p:cNvPr>
            <p:cNvSpPr/>
            <p:nvPr/>
          </p:nvSpPr>
          <p:spPr>
            <a:xfrm>
              <a:off x="-1166305" y="3887695"/>
              <a:ext cx="252000" cy="252000"/>
            </a:xfrm>
            <a:prstGeom prst="rect">
              <a:avLst/>
            </a:prstGeom>
            <a:solidFill>
              <a:srgbClr val="C7A1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Rectangle 21">
              <a:extLst>
                <a:ext uri="{FF2B5EF4-FFF2-40B4-BE49-F238E27FC236}">
                  <a16:creationId xmlns:a16="http://schemas.microsoft.com/office/drawing/2014/main" id="{039A2E5F-7CC0-5FF2-0A7F-2D72C3E8A00D}"/>
                </a:ext>
              </a:extLst>
            </p:cNvPr>
            <p:cNvSpPr/>
            <p:nvPr/>
          </p:nvSpPr>
          <p:spPr>
            <a:xfrm>
              <a:off x="-1166305" y="4139552"/>
              <a:ext cx="252000" cy="252000"/>
            </a:xfrm>
            <a:prstGeom prst="rect">
              <a:avLst/>
            </a:prstGeom>
            <a:solidFill>
              <a:srgbClr val="FEAED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Rectangle 3">
              <a:extLst>
                <a:ext uri="{FF2B5EF4-FFF2-40B4-BE49-F238E27FC236}">
                  <a16:creationId xmlns:a16="http://schemas.microsoft.com/office/drawing/2014/main" id="{58C86684-A6DF-2794-92C0-6DD911DE5B0B}"/>
                </a:ext>
              </a:extLst>
            </p:cNvPr>
            <p:cNvSpPr/>
            <p:nvPr/>
          </p:nvSpPr>
          <p:spPr>
            <a:xfrm>
              <a:off x="-914806" y="2880121"/>
              <a:ext cx="252000" cy="252000"/>
            </a:xfrm>
            <a:prstGeom prst="rect">
              <a:avLst/>
            </a:prstGeom>
            <a:solidFill>
              <a:srgbClr val="D2DBF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Rectangle 4">
              <a:extLst>
                <a:ext uri="{FF2B5EF4-FFF2-40B4-BE49-F238E27FC236}">
                  <a16:creationId xmlns:a16="http://schemas.microsoft.com/office/drawing/2014/main" id="{990EE651-8EBF-58CA-D260-1F659BB86289}"/>
                </a:ext>
              </a:extLst>
            </p:cNvPr>
            <p:cNvSpPr/>
            <p:nvPr/>
          </p:nvSpPr>
          <p:spPr>
            <a:xfrm>
              <a:off x="-914806" y="2628263"/>
              <a:ext cx="252000" cy="252000"/>
            </a:xfrm>
            <a:prstGeom prst="rect">
              <a:avLst/>
            </a:prstGeom>
            <a:solidFill>
              <a:srgbClr val="CCD6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Rectangle 5">
              <a:extLst>
                <a:ext uri="{FF2B5EF4-FFF2-40B4-BE49-F238E27FC236}">
                  <a16:creationId xmlns:a16="http://schemas.microsoft.com/office/drawing/2014/main" id="{9B57337E-51A9-8AE2-D26D-2E657F45176D}"/>
                </a:ext>
              </a:extLst>
            </p:cNvPr>
            <p:cNvSpPr/>
            <p:nvPr/>
          </p:nvSpPr>
          <p:spPr>
            <a:xfrm>
              <a:off x="-914806" y="3131979"/>
              <a:ext cx="252000" cy="252000"/>
            </a:xfrm>
            <a:prstGeom prst="rect">
              <a:avLst/>
            </a:prstGeom>
            <a:solidFill>
              <a:srgbClr val="CED3D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Rectangle 6">
              <a:extLst>
                <a:ext uri="{FF2B5EF4-FFF2-40B4-BE49-F238E27FC236}">
                  <a16:creationId xmlns:a16="http://schemas.microsoft.com/office/drawing/2014/main" id="{64CFE16D-D654-882A-A62A-640B7551BA24}"/>
                </a:ext>
              </a:extLst>
            </p:cNvPr>
            <p:cNvSpPr/>
            <p:nvPr/>
          </p:nvSpPr>
          <p:spPr>
            <a:xfrm>
              <a:off x="-914806" y="3383837"/>
              <a:ext cx="252000" cy="252000"/>
            </a:xfrm>
            <a:prstGeom prst="rect">
              <a:avLst/>
            </a:prstGeom>
            <a:solidFill>
              <a:srgbClr val="EEFB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Rectangle 19">
              <a:extLst>
                <a:ext uri="{FF2B5EF4-FFF2-40B4-BE49-F238E27FC236}">
                  <a16:creationId xmlns:a16="http://schemas.microsoft.com/office/drawing/2014/main" id="{002116DB-C105-4DD3-E9D5-D89E7E7EB351}"/>
                </a:ext>
              </a:extLst>
            </p:cNvPr>
            <p:cNvSpPr/>
            <p:nvPr/>
          </p:nvSpPr>
          <p:spPr>
            <a:xfrm>
              <a:off x="-914806" y="3635695"/>
              <a:ext cx="252000" cy="252000"/>
            </a:xfrm>
            <a:prstGeom prst="rect">
              <a:avLst/>
            </a:prstGeom>
            <a:solidFill>
              <a:srgbClr val="CCF1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Rectangle 20">
              <a:extLst>
                <a:ext uri="{FF2B5EF4-FFF2-40B4-BE49-F238E27FC236}">
                  <a16:creationId xmlns:a16="http://schemas.microsoft.com/office/drawing/2014/main" id="{75705533-454F-D579-E0A1-A71D4521FBBD}"/>
                </a:ext>
              </a:extLst>
            </p:cNvPr>
            <p:cNvSpPr/>
            <p:nvPr/>
          </p:nvSpPr>
          <p:spPr>
            <a:xfrm>
              <a:off x="-914806" y="3887553"/>
              <a:ext cx="252000" cy="252000"/>
            </a:xfrm>
            <a:prstGeom prst="rect">
              <a:avLst/>
            </a:prstGeom>
            <a:solidFill>
              <a:srgbClr val="E3D0F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Rectangle 21">
              <a:extLst>
                <a:ext uri="{FF2B5EF4-FFF2-40B4-BE49-F238E27FC236}">
                  <a16:creationId xmlns:a16="http://schemas.microsoft.com/office/drawing/2014/main" id="{B4CCF290-B171-5106-ABD4-BF5BDB6D78A4}"/>
                </a:ext>
              </a:extLst>
            </p:cNvPr>
            <p:cNvSpPr/>
            <p:nvPr/>
          </p:nvSpPr>
          <p:spPr>
            <a:xfrm>
              <a:off x="-914806" y="4139410"/>
              <a:ext cx="252000" cy="252000"/>
            </a:xfrm>
            <a:prstGeom prst="rect">
              <a:avLst/>
            </a:prstGeom>
            <a:solidFill>
              <a:srgbClr val="FFD6E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97" name="그룹 96">
            <a:extLst>
              <a:ext uri="{FF2B5EF4-FFF2-40B4-BE49-F238E27FC236}">
                <a16:creationId xmlns:a16="http://schemas.microsoft.com/office/drawing/2014/main" id="{0097F641-57EC-528A-7942-9FFEF226AD87}"/>
              </a:ext>
            </a:extLst>
          </p:cNvPr>
          <p:cNvGrpSpPr/>
          <p:nvPr userDrawn="1"/>
        </p:nvGrpSpPr>
        <p:grpSpPr>
          <a:xfrm>
            <a:off x="8534231" y="-387424"/>
            <a:ext cx="1098719" cy="252142"/>
            <a:chOff x="8534231" y="-387424"/>
            <a:chExt cx="1098719" cy="252142"/>
          </a:xfrm>
        </p:grpSpPr>
        <p:sp>
          <p:nvSpPr>
            <p:cNvPr id="98" name="Rectangle 4">
              <a:extLst>
                <a:ext uri="{FF2B5EF4-FFF2-40B4-BE49-F238E27FC236}">
                  <a16:creationId xmlns:a16="http://schemas.microsoft.com/office/drawing/2014/main" id="{DAB25DE3-BB1E-11EE-E0FF-908E48DA7193}"/>
                </a:ext>
              </a:extLst>
            </p:cNvPr>
            <p:cNvSpPr/>
            <p:nvPr userDrawn="1"/>
          </p:nvSpPr>
          <p:spPr>
            <a:xfrm>
              <a:off x="8534231" y="-387282"/>
              <a:ext cx="980176" cy="252000"/>
            </a:xfrm>
            <a:prstGeom prst="rect">
              <a:avLst/>
            </a:pr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 / 35 / 60`</a:t>
              </a:r>
            </a:p>
          </p:txBody>
        </p:sp>
        <p:sp>
          <p:nvSpPr>
            <p:cNvPr id="99" name="Rectangle 4">
              <a:extLst>
                <a:ext uri="{FF2B5EF4-FFF2-40B4-BE49-F238E27FC236}">
                  <a16:creationId xmlns:a16="http://schemas.microsoft.com/office/drawing/2014/main" id="{27FE6E0F-FFA8-0030-1206-95E6FC27C050}"/>
                </a:ext>
              </a:extLst>
            </p:cNvPr>
            <p:cNvSpPr/>
            <p:nvPr userDrawn="1"/>
          </p:nvSpPr>
          <p:spPr>
            <a:xfrm>
              <a:off x="9124695" y="-387282"/>
              <a:ext cx="127497" cy="252000"/>
            </a:xfrm>
            <a:prstGeom prst="rect">
              <a:avLst/>
            </a:prstGeom>
            <a:solidFill>
              <a:srgbClr val="4E4F5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Rectangle 4">
              <a:extLst>
                <a:ext uri="{FF2B5EF4-FFF2-40B4-BE49-F238E27FC236}">
                  <a16:creationId xmlns:a16="http://schemas.microsoft.com/office/drawing/2014/main" id="{BCB9F635-FDE7-E9D2-B081-EE41CDFF0491}"/>
                </a:ext>
              </a:extLst>
            </p:cNvPr>
            <p:cNvSpPr/>
            <p:nvPr userDrawn="1"/>
          </p:nvSpPr>
          <p:spPr>
            <a:xfrm>
              <a:off x="9252192" y="-387282"/>
              <a:ext cx="127497" cy="252000"/>
            </a:xfrm>
            <a:prstGeom prst="rect">
              <a:avLst/>
            </a:prstGeom>
            <a:solidFill>
              <a:srgbClr val="E3E4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Rectangle 4">
              <a:extLst>
                <a:ext uri="{FF2B5EF4-FFF2-40B4-BE49-F238E27FC236}">
                  <a16:creationId xmlns:a16="http://schemas.microsoft.com/office/drawing/2014/main" id="{5717CF85-12C0-D8A1-FB9B-544E9E4583C2}"/>
                </a:ext>
              </a:extLst>
            </p:cNvPr>
            <p:cNvSpPr/>
            <p:nvPr userDrawn="1"/>
          </p:nvSpPr>
          <p:spPr>
            <a:xfrm>
              <a:off x="9378211" y="-387282"/>
              <a:ext cx="127497" cy="252000"/>
            </a:xfrm>
            <a:prstGeom prst="rect">
              <a:avLst/>
            </a:prstGeom>
            <a:solidFill>
              <a:srgbClr val="F4F4F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Rectangle 4">
              <a:extLst>
                <a:ext uri="{FF2B5EF4-FFF2-40B4-BE49-F238E27FC236}">
                  <a16:creationId xmlns:a16="http://schemas.microsoft.com/office/drawing/2014/main" id="{0DA0B706-45A9-5938-C60E-F52118A37164}"/>
                </a:ext>
              </a:extLst>
            </p:cNvPr>
            <p:cNvSpPr/>
            <p:nvPr userDrawn="1"/>
          </p:nvSpPr>
          <p:spPr>
            <a:xfrm>
              <a:off x="9505453" y="-387424"/>
              <a:ext cx="127497" cy="252000"/>
            </a:xfrm>
            <a:prstGeom prst="rect">
              <a:avLst/>
            </a:prstGeom>
            <a:solidFill>
              <a:srgbClr val="B2DFE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B2DFE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0457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그림 62" descr="실내, 사람, 창문, 테이블이(가) 표시된 사진&#10;&#10;자동 생성된 설명">
            <a:extLst>
              <a:ext uri="{FF2B5EF4-FFF2-40B4-BE49-F238E27FC236}">
                <a16:creationId xmlns:a16="http://schemas.microsoft.com/office/drawing/2014/main" id="{186C4A5C-DAAA-FCB2-AE66-7D0610EAC2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83772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3"/>
          <p:cNvSpPr/>
          <p:nvPr userDrawn="1"/>
        </p:nvSpPr>
        <p:spPr>
          <a:xfrm>
            <a:off x="3" y="0"/>
            <a:ext cx="99695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4E4F50"/>
          </a:solidFill>
        </p:spPr>
        <p:txBody>
          <a:bodyPr vert="vert270" wrap="square" lIns="0" tIns="0" rIns="0" bIns="0" rtlCol="0" anchor="ctr">
            <a:noAutofit/>
          </a:bodyPr>
          <a:lstStyle/>
          <a:p>
            <a:pPr algn="ctr"/>
            <a:endParaRPr sz="3200" b="1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8" name="Rectangle 22">
            <a:extLst>
              <a:ext uri="{FF2B5EF4-FFF2-40B4-BE49-F238E27FC236}">
                <a16:creationId xmlns:a16="http://schemas.microsoft.com/office/drawing/2014/main" id="{C7DBD0DC-200E-4709-BC9B-1664D2C85E9A}"/>
              </a:ext>
            </a:extLst>
          </p:cNvPr>
          <p:cNvSpPr/>
          <p:nvPr/>
        </p:nvSpPr>
        <p:spPr>
          <a:xfrm>
            <a:off x="996952" y="0"/>
            <a:ext cx="8909047" cy="6858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3" rIns="91428" bIns="45713" rtlCol="0" anchor="ctr"/>
          <a:lstStyle/>
          <a:p>
            <a:pPr algn="ctr"/>
            <a:endParaRPr lang="en-US" sz="800"/>
          </a:p>
        </p:txBody>
      </p:sp>
      <p:pic>
        <p:nvPicPr>
          <p:cNvPr id="4" name="그림 3" descr="폰트, 그래픽, 타이포그래피, 텍스트이(가) 표시된 사진&#10;&#10;자동 생성된 설명">
            <a:extLst>
              <a:ext uri="{FF2B5EF4-FFF2-40B4-BE49-F238E27FC236}">
                <a16:creationId xmlns:a16="http://schemas.microsoft.com/office/drawing/2014/main" id="{B9FF5A9E-2D20-4BA9-5862-CB13CB67BF5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836450" y="3123458"/>
            <a:ext cx="2669855" cy="492028"/>
          </a:xfrm>
          <a:prstGeom prst="rect">
            <a:avLst/>
          </a:prstGeom>
        </p:spPr>
      </p:pic>
      <p:grpSp>
        <p:nvGrpSpPr>
          <p:cNvPr id="5" name="그룹 4">
            <a:extLst>
              <a:ext uri="{FF2B5EF4-FFF2-40B4-BE49-F238E27FC236}">
                <a16:creationId xmlns:a16="http://schemas.microsoft.com/office/drawing/2014/main" id="{80989EFB-3BE9-D8D8-D33A-870796FDE45F}"/>
              </a:ext>
            </a:extLst>
          </p:cNvPr>
          <p:cNvGrpSpPr/>
          <p:nvPr userDrawn="1"/>
        </p:nvGrpSpPr>
        <p:grpSpPr>
          <a:xfrm>
            <a:off x="-732055" y="202453"/>
            <a:ext cx="651308" cy="6451719"/>
            <a:chOff x="-732055" y="202451"/>
            <a:chExt cx="651308" cy="6451719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F8772A6-514C-35C8-6932-33783873008B}"/>
                </a:ext>
              </a:extLst>
            </p:cNvPr>
            <p:cNvSpPr txBox="1"/>
            <p:nvPr userDrawn="1"/>
          </p:nvSpPr>
          <p:spPr>
            <a:xfrm rot="5400000">
              <a:off x="-869914" y="880479"/>
              <a:ext cx="1451320" cy="1270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dist="12700" dir="5400000" algn="t" rotWithShape="0">
                <a:schemeClr val="tx2"/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GB" sz="700" b="0">
                  <a:solidFill>
                    <a:schemeClr val="tx2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RIMARY </a:t>
              </a:r>
              <a:r>
                <a:rPr lang="ko-KR" altLang="en-US" sz="700" b="0" err="1">
                  <a:solidFill>
                    <a:schemeClr val="tx2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700" b="0">
                  <a:solidFill>
                    <a:schemeClr val="tx2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COLOURS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DEDCA32-E70D-57D9-036C-AC434B0CCFD1}"/>
                </a:ext>
              </a:extLst>
            </p:cNvPr>
            <p:cNvSpPr txBox="1"/>
            <p:nvPr userDrawn="1"/>
          </p:nvSpPr>
          <p:spPr>
            <a:xfrm rot="5400000">
              <a:off x="-1119140" y="2625061"/>
              <a:ext cx="1949772" cy="1270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dist="12700" dir="5400000" algn="t" rotWithShape="0">
                <a:srgbClr val="483698"/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ECONDARY </a:t>
              </a:r>
              <a:r>
                <a:rPr lang="ko-KR" altLang="en-US" sz="700" b="0" err="1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COLOUR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E05F580-091F-1BAF-7400-73AD75E38EC0}"/>
                </a:ext>
              </a:extLst>
            </p:cNvPr>
            <p:cNvSpPr txBox="1"/>
            <p:nvPr userDrawn="1"/>
          </p:nvSpPr>
          <p:spPr>
            <a:xfrm rot="5400000">
              <a:off x="-1617593" y="5117323"/>
              <a:ext cx="2946677" cy="1270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dist="12700" dir="5400000" algn="t" rotWithShape="0">
                <a:srgbClr val="43B02A"/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TERTIARY </a:t>
              </a:r>
              <a:r>
                <a:rPr lang="ko-KR" altLang="en-US" sz="700" b="0" err="1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COLOURS</a:t>
              </a:r>
            </a:p>
          </p:txBody>
        </p:sp>
        <p:sp>
          <p:nvSpPr>
            <p:cNvPr id="11" name="Rectangle 12">
              <a:extLst>
                <a:ext uri="{FF2B5EF4-FFF2-40B4-BE49-F238E27FC236}">
                  <a16:creationId xmlns:a16="http://schemas.microsoft.com/office/drawing/2014/main" id="{4CD59733-F9D7-34F0-0DE6-0E5D0E7D7493}"/>
                </a:ext>
              </a:extLst>
            </p:cNvPr>
            <p:cNvSpPr/>
            <p:nvPr userDrawn="1"/>
          </p:nvSpPr>
          <p:spPr>
            <a:xfrm rot="5400000">
              <a:off x="-612940" y="318519"/>
              <a:ext cx="454415" cy="254029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300" err="1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Blu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51 / 141</a:t>
              </a:r>
            </a:p>
          </p:txBody>
        </p:sp>
        <p:sp>
          <p:nvSpPr>
            <p:cNvPr id="13" name="Rectangle 13">
              <a:extLst>
                <a:ext uri="{FF2B5EF4-FFF2-40B4-BE49-F238E27FC236}">
                  <a16:creationId xmlns:a16="http://schemas.microsoft.com/office/drawing/2014/main" id="{CA3063E5-551E-480B-8210-E102C175CF8B}"/>
                </a:ext>
              </a:extLst>
            </p:cNvPr>
            <p:cNvSpPr/>
            <p:nvPr userDrawn="1"/>
          </p:nvSpPr>
          <p:spPr>
            <a:xfrm rot="5400000">
              <a:off x="-612940" y="816972"/>
              <a:ext cx="454415" cy="254029"/>
            </a:xfrm>
            <a:prstGeom prst="rect">
              <a:avLst/>
            </a:prstGeom>
            <a:solidFill>
              <a:srgbClr val="005E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edium Blu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94 / 184</a:t>
              </a:r>
            </a:p>
          </p:txBody>
        </p:sp>
        <p:sp>
          <p:nvSpPr>
            <p:cNvPr id="14" name="Rectangle 14">
              <a:extLst>
                <a:ext uri="{FF2B5EF4-FFF2-40B4-BE49-F238E27FC236}">
                  <a16:creationId xmlns:a16="http://schemas.microsoft.com/office/drawing/2014/main" id="{A757D9BD-3D6B-71EB-7EBA-54BEDA6B9C49}"/>
                </a:ext>
              </a:extLst>
            </p:cNvPr>
            <p:cNvSpPr/>
            <p:nvPr userDrawn="1"/>
          </p:nvSpPr>
          <p:spPr>
            <a:xfrm rot="5400000">
              <a:off x="-612940" y="1315424"/>
              <a:ext cx="454415" cy="25402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ght Blu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145 / 218</a:t>
              </a:r>
            </a:p>
          </p:txBody>
        </p:sp>
        <p:sp>
          <p:nvSpPr>
            <p:cNvPr id="15" name="Rectangle 15">
              <a:extLst>
                <a:ext uri="{FF2B5EF4-FFF2-40B4-BE49-F238E27FC236}">
                  <a16:creationId xmlns:a16="http://schemas.microsoft.com/office/drawing/2014/main" id="{E614C23D-A5BB-AF51-8ED7-968CEB92265B}"/>
                </a:ext>
              </a:extLst>
            </p:cNvPr>
            <p:cNvSpPr/>
            <p:nvPr userDrawn="1"/>
          </p:nvSpPr>
          <p:spPr>
            <a:xfrm rot="5400000">
              <a:off x="-612940" y="1813877"/>
              <a:ext cx="454415" cy="254029"/>
            </a:xfrm>
            <a:prstGeom prst="rect">
              <a:avLst/>
            </a:prstGeom>
            <a:solidFill>
              <a:srgbClr val="4836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Violet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72 / 54 / 152</a:t>
              </a:r>
            </a:p>
          </p:txBody>
        </p:sp>
        <p:sp>
          <p:nvSpPr>
            <p:cNvPr id="16" name="Rectangle 16">
              <a:extLst>
                <a:ext uri="{FF2B5EF4-FFF2-40B4-BE49-F238E27FC236}">
                  <a16:creationId xmlns:a16="http://schemas.microsoft.com/office/drawing/2014/main" id="{D19A48B9-FA3B-D68E-5A78-6AC6345905B6}"/>
                </a:ext>
              </a:extLst>
            </p:cNvPr>
            <p:cNvSpPr/>
            <p:nvPr userDrawn="1"/>
          </p:nvSpPr>
          <p:spPr>
            <a:xfrm rot="5400000">
              <a:off x="-612940" y="2312329"/>
              <a:ext cx="454415" cy="254029"/>
            </a:xfrm>
            <a:prstGeom prst="rect">
              <a:avLst/>
            </a:prstGeom>
            <a:solidFill>
              <a:srgbClr val="470A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urpl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71 / 10 / 104</a:t>
              </a:r>
            </a:p>
          </p:txBody>
        </p:sp>
        <p:sp>
          <p:nvSpPr>
            <p:cNvPr id="17" name="Rectangle 17">
              <a:extLst>
                <a:ext uri="{FF2B5EF4-FFF2-40B4-BE49-F238E27FC236}">
                  <a16:creationId xmlns:a16="http://schemas.microsoft.com/office/drawing/2014/main" id="{12AE23BE-9F3E-BF63-6EE6-A81D5B95CD97}"/>
                </a:ext>
              </a:extLst>
            </p:cNvPr>
            <p:cNvSpPr/>
            <p:nvPr userDrawn="1"/>
          </p:nvSpPr>
          <p:spPr>
            <a:xfrm rot="5400000">
              <a:off x="-612940" y="2810781"/>
              <a:ext cx="454415" cy="254029"/>
            </a:xfrm>
            <a:prstGeom prst="rect">
              <a:avLst/>
            </a:prstGeom>
            <a:solidFill>
              <a:srgbClr val="6D20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ght Purpl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09 / 32 / 119</a:t>
              </a:r>
            </a:p>
          </p:txBody>
        </p:sp>
        <p:sp>
          <p:nvSpPr>
            <p:cNvPr id="18" name="Rectangle 18">
              <a:extLst>
                <a:ext uri="{FF2B5EF4-FFF2-40B4-BE49-F238E27FC236}">
                  <a16:creationId xmlns:a16="http://schemas.microsoft.com/office/drawing/2014/main" id="{957124A5-BE58-C0D2-DAF7-B5FA0FB70572}"/>
                </a:ext>
              </a:extLst>
            </p:cNvPr>
            <p:cNvSpPr/>
            <p:nvPr userDrawn="1"/>
          </p:nvSpPr>
          <p:spPr>
            <a:xfrm rot="5400000">
              <a:off x="-612940" y="3309234"/>
              <a:ext cx="454415" cy="254029"/>
            </a:xfrm>
            <a:prstGeom prst="rect">
              <a:avLst/>
            </a:prstGeom>
            <a:solidFill>
              <a:srgbClr val="00A3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Green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163 / 161</a:t>
              </a:r>
            </a:p>
          </p:txBody>
        </p:sp>
        <p:sp>
          <p:nvSpPr>
            <p:cNvPr id="19" name="Rectangle 19">
              <a:extLst>
                <a:ext uri="{FF2B5EF4-FFF2-40B4-BE49-F238E27FC236}">
                  <a16:creationId xmlns:a16="http://schemas.microsoft.com/office/drawing/2014/main" id="{E0F7B186-5BA4-3245-719E-7F2C63192DF4}"/>
                </a:ext>
              </a:extLst>
            </p:cNvPr>
            <p:cNvSpPr/>
            <p:nvPr userDrawn="1"/>
          </p:nvSpPr>
          <p:spPr>
            <a:xfrm rot="5400000">
              <a:off x="-612940" y="3807686"/>
              <a:ext cx="454415" cy="254029"/>
            </a:xfrm>
            <a:prstGeom prst="rect">
              <a:avLst/>
            </a:prstGeom>
            <a:solidFill>
              <a:srgbClr val="009A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rk Green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154 / 68</a:t>
              </a:r>
            </a:p>
          </p:txBody>
        </p:sp>
        <p:sp>
          <p:nvSpPr>
            <p:cNvPr id="20" name="Rectangle 20">
              <a:extLst>
                <a:ext uri="{FF2B5EF4-FFF2-40B4-BE49-F238E27FC236}">
                  <a16:creationId xmlns:a16="http://schemas.microsoft.com/office/drawing/2014/main" id="{E52FF749-723D-A45D-AF3E-62A558623983}"/>
                </a:ext>
              </a:extLst>
            </p:cNvPr>
            <p:cNvSpPr/>
            <p:nvPr userDrawn="1"/>
          </p:nvSpPr>
          <p:spPr>
            <a:xfrm rot="5400000">
              <a:off x="-612940" y="4306139"/>
              <a:ext cx="454415" cy="254029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ght Green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67 / 176 / 42</a:t>
              </a:r>
            </a:p>
          </p:txBody>
        </p:sp>
        <p:sp>
          <p:nvSpPr>
            <p:cNvPr id="21" name="Rectangle 21">
              <a:extLst>
                <a:ext uri="{FF2B5EF4-FFF2-40B4-BE49-F238E27FC236}">
                  <a16:creationId xmlns:a16="http://schemas.microsoft.com/office/drawing/2014/main" id="{F5DA764D-964A-44A9-3755-86EE5EECB626}"/>
                </a:ext>
              </a:extLst>
            </p:cNvPr>
            <p:cNvSpPr/>
            <p:nvPr userDrawn="1"/>
          </p:nvSpPr>
          <p:spPr>
            <a:xfrm rot="5400000">
              <a:off x="-612940" y="4804591"/>
              <a:ext cx="454415" cy="254029"/>
            </a:xfrm>
            <a:prstGeom prst="rect">
              <a:avLst/>
            </a:prstGeom>
            <a:solidFill>
              <a:srgbClr val="EAA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Yellow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34 / 170 / 0</a:t>
              </a:r>
            </a:p>
          </p:txBody>
        </p:sp>
        <p:sp>
          <p:nvSpPr>
            <p:cNvPr id="24" name="Rectangle 22">
              <a:extLst>
                <a:ext uri="{FF2B5EF4-FFF2-40B4-BE49-F238E27FC236}">
                  <a16:creationId xmlns:a16="http://schemas.microsoft.com/office/drawing/2014/main" id="{F8A8622E-6005-68E8-D89D-2E46A856BB3C}"/>
                </a:ext>
              </a:extLst>
            </p:cNvPr>
            <p:cNvSpPr/>
            <p:nvPr userDrawn="1"/>
          </p:nvSpPr>
          <p:spPr>
            <a:xfrm rot="5400000">
              <a:off x="-612940" y="5303043"/>
              <a:ext cx="454415" cy="254029"/>
            </a:xfrm>
            <a:prstGeom prst="rect">
              <a:avLst/>
            </a:prstGeom>
            <a:solidFill>
              <a:srgbClr val="F68D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Orang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46 / 141 / 46</a:t>
              </a:r>
            </a:p>
          </p:txBody>
        </p:sp>
        <p:sp>
          <p:nvSpPr>
            <p:cNvPr id="25" name="Rectangle 23">
              <a:extLst>
                <a:ext uri="{FF2B5EF4-FFF2-40B4-BE49-F238E27FC236}">
                  <a16:creationId xmlns:a16="http://schemas.microsoft.com/office/drawing/2014/main" id="{0297EE63-76E0-770A-ECA4-2A12B92A2D9C}"/>
                </a:ext>
              </a:extLst>
            </p:cNvPr>
            <p:cNvSpPr/>
            <p:nvPr userDrawn="1"/>
          </p:nvSpPr>
          <p:spPr>
            <a:xfrm rot="5400000">
              <a:off x="-612940" y="5801496"/>
              <a:ext cx="454415" cy="254029"/>
            </a:xfrm>
            <a:prstGeom prst="rect">
              <a:avLst/>
            </a:prstGeom>
            <a:solidFill>
              <a:srgbClr val="BC2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ed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88 / 32 / 75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F3D8858-F80F-8A8E-05BC-E1B0820FD864}"/>
                </a:ext>
              </a:extLst>
            </p:cNvPr>
            <p:cNvSpPr/>
            <p:nvPr userDrawn="1"/>
          </p:nvSpPr>
          <p:spPr>
            <a:xfrm rot="5400000">
              <a:off x="-612940" y="6299948"/>
              <a:ext cx="454415" cy="254029"/>
            </a:xfrm>
            <a:prstGeom prst="rect">
              <a:avLst/>
            </a:prstGeom>
            <a:solidFill>
              <a:srgbClr val="C600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ink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98 / 0 / 126</a:t>
              </a:r>
            </a:p>
          </p:txBody>
        </p:sp>
        <p:sp>
          <p:nvSpPr>
            <p:cNvPr id="27" name="Rectangle 5">
              <a:extLst>
                <a:ext uri="{FF2B5EF4-FFF2-40B4-BE49-F238E27FC236}">
                  <a16:creationId xmlns:a16="http://schemas.microsoft.com/office/drawing/2014/main" id="{24B5A82F-752F-B414-4346-39167B5155D6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75526"/>
              <a:ext cx="143082" cy="142065"/>
            </a:xfrm>
            <a:prstGeom prst="rect">
              <a:avLst/>
            </a:prstGeom>
            <a:solidFill>
              <a:srgbClr val="4066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" name="Rectangle 36">
              <a:extLst>
                <a:ext uri="{FF2B5EF4-FFF2-40B4-BE49-F238E27FC236}">
                  <a16:creationId xmlns:a16="http://schemas.microsoft.com/office/drawing/2014/main" id="{574B5FA7-A199-DA99-A59E-EFE92AB20A56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548093"/>
              <a:ext cx="143082" cy="142065"/>
            </a:xfrm>
            <a:prstGeom prst="rect">
              <a:avLst/>
            </a:prstGeom>
            <a:solidFill>
              <a:srgbClr val="8099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9" name="Rectangle 31">
              <a:extLst>
                <a:ext uri="{FF2B5EF4-FFF2-40B4-BE49-F238E27FC236}">
                  <a16:creationId xmlns:a16="http://schemas.microsoft.com/office/drawing/2014/main" id="{E32F2F12-AF87-3750-3593-9F1B1C2D287D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720659"/>
              <a:ext cx="143082" cy="142065"/>
            </a:xfrm>
            <a:prstGeom prst="rect">
              <a:avLst/>
            </a:prstGeom>
            <a:solidFill>
              <a:srgbClr val="BFCC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0" name="Rectangle 6">
              <a:extLst>
                <a:ext uri="{FF2B5EF4-FFF2-40B4-BE49-F238E27FC236}">
                  <a16:creationId xmlns:a16="http://schemas.microsoft.com/office/drawing/2014/main" id="{4E75177B-11B4-DD1F-34CA-5281FD9A1902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446322"/>
              <a:ext cx="143082" cy="142065"/>
            </a:xfrm>
            <a:prstGeom prst="rect">
              <a:avLst/>
            </a:prstGeom>
            <a:solidFill>
              <a:srgbClr val="7668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1" name="Rectangle 19">
              <a:extLst>
                <a:ext uri="{FF2B5EF4-FFF2-40B4-BE49-F238E27FC236}">
                  <a16:creationId xmlns:a16="http://schemas.microsoft.com/office/drawing/2014/main" id="{69279FAE-4A84-B916-23CE-778EDA6F0EBE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618888"/>
              <a:ext cx="143082" cy="142065"/>
            </a:xfrm>
            <a:prstGeom prst="rect">
              <a:avLst/>
            </a:prstGeom>
            <a:solidFill>
              <a:srgbClr val="A39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2" name="Rectangle 32">
              <a:extLst>
                <a:ext uri="{FF2B5EF4-FFF2-40B4-BE49-F238E27FC236}">
                  <a16:creationId xmlns:a16="http://schemas.microsoft.com/office/drawing/2014/main" id="{1C5EC34F-1E53-0D02-F61C-346604206ABE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791454"/>
              <a:ext cx="143082" cy="142065"/>
            </a:xfrm>
            <a:prstGeom prst="rect">
              <a:avLst/>
            </a:prstGeom>
            <a:solidFill>
              <a:srgbClr val="D1CD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477876CD-CF80-3B4E-F414-489298390C8A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898555"/>
              <a:ext cx="143082" cy="142065"/>
            </a:xfrm>
            <a:prstGeom prst="rect">
              <a:avLst/>
            </a:prstGeom>
            <a:solidFill>
              <a:srgbClr val="40BA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4" name="Rectangle 20">
              <a:extLst>
                <a:ext uri="{FF2B5EF4-FFF2-40B4-BE49-F238E27FC236}">
                  <a16:creationId xmlns:a16="http://schemas.microsoft.com/office/drawing/2014/main" id="{DD8B5930-61E8-B588-B8AF-8479C32DBE49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071121"/>
              <a:ext cx="143082" cy="142065"/>
            </a:xfrm>
            <a:prstGeom prst="rect">
              <a:avLst/>
            </a:prstGeom>
            <a:solidFill>
              <a:srgbClr val="80D1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5" name="Rectangle 33">
              <a:extLst>
                <a:ext uri="{FF2B5EF4-FFF2-40B4-BE49-F238E27FC236}">
                  <a16:creationId xmlns:a16="http://schemas.microsoft.com/office/drawing/2014/main" id="{C5BD39BB-05A7-A375-540B-1D3C8E735B9A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243687"/>
              <a:ext cx="143082" cy="142065"/>
            </a:xfrm>
            <a:prstGeom prst="rect">
              <a:avLst/>
            </a:prstGeom>
            <a:solidFill>
              <a:srgbClr val="BF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6" name="Rectangle 8">
              <a:extLst>
                <a:ext uri="{FF2B5EF4-FFF2-40B4-BE49-F238E27FC236}">
                  <a16:creationId xmlns:a16="http://schemas.microsoft.com/office/drawing/2014/main" id="{D77DECAC-9B56-C614-371C-28FA5C804013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969350"/>
              <a:ext cx="143082" cy="142065"/>
            </a:xfrm>
            <a:prstGeom prst="rect">
              <a:avLst/>
            </a:prstGeom>
            <a:solidFill>
              <a:srgbClr val="EFBF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7" name="Rectangle 21">
              <a:extLst>
                <a:ext uri="{FF2B5EF4-FFF2-40B4-BE49-F238E27FC236}">
                  <a16:creationId xmlns:a16="http://schemas.microsoft.com/office/drawing/2014/main" id="{185DA447-9E72-6882-ADDB-0C25799DDF83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6141916"/>
              <a:ext cx="143082" cy="142065"/>
            </a:xfrm>
            <a:prstGeom prst="rect">
              <a:avLst/>
            </a:prstGeom>
            <a:solidFill>
              <a:srgbClr val="F5D4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8" name="Rectangle 34">
              <a:extLst>
                <a:ext uri="{FF2B5EF4-FFF2-40B4-BE49-F238E27FC236}">
                  <a16:creationId xmlns:a16="http://schemas.microsoft.com/office/drawing/2014/main" id="{E47DAE19-F34D-B6ED-12C5-C7A5198B7AA6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6314483"/>
              <a:ext cx="143082" cy="142065"/>
            </a:xfrm>
            <a:prstGeom prst="rect">
              <a:avLst/>
            </a:prstGeom>
            <a:solidFill>
              <a:srgbClr val="FAEA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9" name="Rectangle 9">
              <a:extLst>
                <a:ext uri="{FF2B5EF4-FFF2-40B4-BE49-F238E27FC236}">
                  <a16:creationId xmlns:a16="http://schemas.microsoft.com/office/drawing/2014/main" id="{D8BB77C9-0789-C262-FAB4-57F64271667C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756056"/>
              <a:ext cx="143082" cy="142065"/>
            </a:xfrm>
            <a:prstGeom prst="rect">
              <a:avLst/>
            </a:prstGeom>
            <a:solidFill>
              <a:srgbClr val="40AC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0" name="Rectangle 22">
              <a:extLst>
                <a:ext uri="{FF2B5EF4-FFF2-40B4-BE49-F238E27FC236}">
                  <a16:creationId xmlns:a16="http://schemas.microsoft.com/office/drawing/2014/main" id="{52B0DC0C-EAEE-729D-16E8-5E0465B1FDC0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928623"/>
              <a:ext cx="143082" cy="142065"/>
            </a:xfrm>
            <a:prstGeom prst="rect">
              <a:avLst/>
            </a:prstGeom>
            <a:solidFill>
              <a:srgbClr val="80C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8AF8529B-4B70-39B2-6642-1453E8205D8E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101189"/>
              <a:ext cx="143082" cy="142065"/>
            </a:xfrm>
            <a:prstGeom prst="rect">
              <a:avLst/>
            </a:prstGeom>
            <a:solidFill>
              <a:srgbClr val="BFE3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2" name="Rectangle 11">
              <a:extLst>
                <a:ext uri="{FF2B5EF4-FFF2-40B4-BE49-F238E27FC236}">
                  <a16:creationId xmlns:a16="http://schemas.microsoft.com/office/drawing/2014/main" id="{F0379224-F950-53AF-46F7-26AB3A3CF7B7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279085"/>
              <a:ext cx="143082" cy="142065"/>
            </a:xfrm>
            <a:prstGeom prst="rect">
              <a:avLst/>
            </a:prstGeom>
            <a:solidFill>
              <a:srgbClr val="72B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3" name="Rectangle 24">
              <a:extLst>
                <a:ext uri="{FF2B5EF4-FFF2-40B4-BE49-F238E27FC236}">
                  <a16:creationId xmlns:a16="http://schemas.microsoft.com/office/drawing/2014/main" id="{227533F0-83B3-59CE-5D2E-EB6AB72062B5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451651"/>
              <a:ext cx="143082" cy="142065"/>
            </a:xfrm>
            <a:prstGeom prst="rect">
              <a:avLst/>
            </a:prstGeom>
            <a:solidFill>
              <a:srgbClr val="A1D3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4" name="Rectangle 55">
              <a:extLst>
                <a:ext uri="{FF2B5EF4-FFF2-40B4-BE49-F238E27FC236}">
                  <a16:creationId xmlns:a16="http://schemas.microsoft.com/office/drawing/2014/main" id="{73269F47-9F89-5365-AB9E-BC58EA94C65F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624218"/>
              <a:ext cx="143082" cy="142065"/>
            </a:xfrm>
            <a:prstGeom prst="rect">
              <a:avLst/>
            </a:prstGeom>
            <a:solidFill>
              <a:srgbClr val="D0E9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5" name="Rectangle 13">
              <a:extLst>
                <a:ext uri="{FF2B5EF4-FFF2-40B4-BE49-F238E27FC236}">
                  <a16:creationId xmlns:a16="http://schemas.microsoft.com/office/drawing/2014/main" id="{2F46E519-F75E-E0F9-985C-6A8D0F9CB1F7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065791"/>
              <a:ext cx="143082" cy="142065"/>
            </a:xfrm>
            <a:prstGeom prst="rect">
              <a:avLst/>
            </a:prstGeom>
            <a:solidFill>
              <a:srgbClr val="4086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6" name="Rectangle 26">
              <a:extLst>
                <a:ext uri="{FF2B5EF4-FFF2-40B4-BE49-F238E27FC236}">
                  <a16:creationId xmlns:a16="http://schemas.microsoft.com/office/drawing/2014/main" id="{CA552A99-F32D-B0D6-9796-1404B4EF69E2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238358"/>
              <a:ext cx="143082" cy="142065"/>
            </a:xfrm>
            <a:prstGeom prst="rect">
              <a:avLst/>
            </a:prstGeom>
            <a:solidFill>
              <a:srgbClr val="80AE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7" name="Rectangle 39">
              <a:extLst>
                <a:ext uri="{FF2B5EF4-FFF2-40B4-BE49-F238E27FC236}">
                  <a16:creationId xmlns:a16="http://schemas.microsoft.com/office/drawing/2014/main" id="{B315D26E-557D-F737-E5DD-2DD9225E40CA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410924"/>
              <a:ext cx="143082" cy="142065"/>
            </a:xfrm>
            <a:prstGeom prst="rect">
              <a:avLst/>
            </a:prstGeom>
            <a:solidFill>
              <a:srgbClr val="BFD7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8" name="Rectangle 14">
              <a:extLst>
                <a:ext uri="{FF2B5EF4-FFF2-40B4-BE49-F238E27FC236}">
                  <a16:creationId xmlns:a16="http://schemas.microsoft.com/office/drawing/2014/main" id="{F276317F-4A43-ABDE-F9CF-3615BA6F9B0E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136587"/>
              <a:ext cx="143082" cy="142065"/>
            </a:xfrm>
            <a:prstGeom prst="rect">
              <a:avLst/>
            </a:prstGeom>
            <a:solidFill>
              <a:srgbClr val="7747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9" name="Rectangle 27">
              <a:extLst>
                <a:ext uri="{FF2B5EF4-FFF2-40B4-BE49-F238E27FC236}">
                  <a16:creationId xmlns:a16="http://schemas.microsoft.com/office/drawing/2014/main" id="{CAD97708-A08E-7C1D-9311-98254647F229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309153"/>
              <a:ext cx="143082" cy="142065"/>
            </a:xfrm>
            <a:prstGeom prst="rect">
              <a:avLst/>
            </a:prstGeom>
            <a:solidFill>
              <a:srgbClr val="A485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0" name="Rectangle 40">
              <a:extLst>
                <a:ext uri="{FF2B5EF4-FFF2-40B4-BE49-F238E27FC236}">
                  <a16:creationId xmlns:a16="http://schemas.microsoft.com/office/drawing/2014/main" id="{71BF0D25-6943-6F50-3AED-4D384C076BDF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481719"/>
              <a:ext cx="143082" cy="142065"/>
            </a:xfrm>
            <a:prstGeom prst="rect">
              <a:avLst/>
            </a:prstGeom>
            <a:solidFill>
              <a:srgbClr val="D2C2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1" name="Rectangle 15">
              <a:extLst>
                <a:ext uri="{FF2B5EF4-FFF2-40B4-BE49-F238E27FC236}">
                  <a16:creationId xmlns:a16="http://schemas.microsoft.com/office/drawing/2014/main" id="{2EF040A1-B72E-8D42-665E-93C23C75A889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588820"/>
              <a:ext cx="143082" cy="142065"/>
            </a:xfrm>
            <a:prstGeom prst="rect">
              <a:avLst/>
            </a:prstGeom>
            <a:solidFill>
              <a:srgbClr val="40B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2" name="Rectangle 28">
              <a:extLst>
                <a:ext uri="{FF2B5EF4-FFF2-40B4-BE49-F238E27FC236}">
                  <a16:creationId xmlns:a16="http://schemas.microsoft.com/office/drawing/2014/main" id="{E7873F44-5F9B-718C-FCDD-53CAAD190EB8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761386"/>
              <a:ext cx="143082" cy="142065"/>
            </a:xfrm>
            <a:prstGeom prst="rect">
              <a:avLst/>
            </a:prstGeom>
            <a:solidFill>
              <a:srgbClr val="80CD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3" name="Rectangle 41">
              <a:extLst>
                <a:ext uri="{FF2B5EF4-FFF2-40B4-BE49-F238E27FC236}">
                  <a16:creationId xmlns:a16="http://schemas.microsoft.com/office/drawing/2014/main" id="{505AEAC4-FAF3-E924-FFF0-C933AE1B9F1D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933953"/>
              <a:ext cx="143082" cy="142065"/>
            </a:xfrm>
            <a:prstGeom prst="rect">
              <a:avLst/>
            </a:prstGeom>
            <a:solidFill>
              <a:srgbClr val="BFE6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4" name="Rectangle 5">
              <a:extLst>
                <a:ext uri="{FF2B5EF4-FFF2-40B4-BE49-F238E27FC236}">
                  <a16:creationId xmlns:a16="http://schemas.microsoft.com/office/drawing/2014/main" id="{B9BF2829-FBCF-FE47-C591-425CD1F7484A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02959"/>
              <a:ext cx="143082" cy="142065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5" name="Rectangle 6">
              <a:extLst>
                <a:ext uri="{FF2B5EF4-FFF2-40B4-BE49-F238E27FC236}">
                  <a16:creationId xmlns:a16="http://schemas.microsoft.com/office/drawing/2014/main" id="{2C764C79-9001-0F21-85E1-D4EFB19BCAA2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273755"/>
              <a:ext cx="143082" cy="142065"/>
            </a:xfrm>
            <a:prstGeom prst="rect">
              <a:avLst/>
            </a:prstGeom>
            <a:solidFill>
              <a:srgbClr val="483698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6" name="Rectangle 7">
              <a:extLst>
                <a:ext uri="{FF2B5EF4-FFF2-40B4-BE49-F238E27FC236}">
                  <a16:creationId xmlns:a16="http://schemas.microsoft.com/office/drawing/2014/main" id="{5C2C5A35-4576-977A-6F99-9F2B4B0EC826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725989"/>
              <a:ext cx="143082" cy="142065"/>
            </a:xfrm>
            <a:prstGeom prst="rect">
              <a:avLst/>
            </a:prstGeom>
            <a:solidFill>
              <a:srgbClr val="00A3A1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7" name="Rectangle 8">
              <a:extLst>
                <a:ext uri="{FF2B5EF4-FFF2-40B4-BE49-F238E27FC236}">
                  <a16:creationId xmlns:a16="http://schemas.microsoft.com/office/drawing/2014/main" id="{917E5048-CF84-0DDD-47CE-277F756C7F42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796784"/>
              <a:ext cx="143082" cy="142065"/>
            </a:xfrm>
            <a:prstGeom prst="rect">
              <a:avLst/>
            </a:prstGeom>
            <a:solidFill>
              <a:srgbClr val="EAAA00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8" name="Rectangle 9">
              <a:extLst>
                <a:ext uri="{FF2B5EF4-FFF2-40B4-BE49-F238E27FC236}">
                  <a16:creationId xmlns:a16="http://schemas.microsoft.com/office/drawing/2014/main" id="{EE85B471-1328-2A82-8BEE-284B54D03859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583490"/>
              <a:ext cx="143082" cy="142065"/>
            </a:xfrm>
            <a:prstGeom prst="rect">
              <a:avLst/>
            </a:prstGeom>
            <a:solidFill>
              <a:srgbClr val="0091DA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9" name="Rectangle 11">
              <a:extLst>
                <a:ext uri="{FF2B5EF4-FFF2-40B4-BE49-F238E27FC236}">
                  <a16:creationId xmlns:a16="http://schemas.microsoft.com/office/drawing/2014/main" id="{015C6ADE-BE64-DD5B-728D-1A896FB8B398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106519"/>
              <a:ext cx="143082" cy="14206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0" name="Rectangle 13">
              <a:extLst>
                <a:ext uri="{FF2B5EF4-FFF2-40B4-BE49-F238E27FC236}">
                  <a16:creationId xmlns:a16="http://schemas.microsoft.com/office/drawing/2014/main" id="{ECCBFB07-88A0-986B-8B0E-DC35691B6745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893225"/>
              <a:ext cx="143082" cy="142065"/>
            </a:xfrm>
            <a:prstGeom prst="rect">
              <a:avLst/>
            </a:prstGeom>
            <a:solidFill>
              <a:srgbClr val="005EB8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1" name="Rectangle 14">
              <a:extLst>
                <a:ext uri="{FF2B5EF4-FFF2-40B4-BE49-F238E27FC236}">
                  <a16:creationId xmlns:a16="http://schemas.microsoft.com/office/drawing/2014/main" id="{70B552A8-2820-05B3-5B7A-C623D6FBF28A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964020"/>
              <a:ext cx="143082" cy="142065"/>
            </a:xfrm>
            <a:prstGeom prst="rect">
              <a:avLst/>
            </a:prstGeom>
            <a:solidFill>
              <a:srgbClr val="470A68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2" name="Rectangle 15">
              <a:extLst>
                <a:ext uri="{FF2B5EF4-FFF2-40B4-BE49-F238E27FC236}">
                  <a16:creationId xmlns:a16="http://schemas.microsoft.com/office/drawing/2014/main" id="{24FD5D5D-1000-8554-483B-F2B4F2C92633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416254"/>
              <a:ext cx="143082" cy="142065"/>
            </a:xfrm>
            <a:prstGeom prst="rect">
              <a:avLst/>
            </a:prstGeom>
            <a:solidFill>
              <a:srgbClr val="009A44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FA55F402-A23E-E4BE-9FB9-F9D338919AF7}"/>
              </a:ext>
            </a:extLst>
          </p:cNvPr>
          <p:cNvGrpSpPr/>
          <p:nvPr userDrawn="1"/>
        </p:nvGrpSpPr>
        <p:grpSpPr>
          <a:xfrm>
            <a:off x="-1686237" y="249507"/>
            <a:ext cx="905097" cy="1763289"/>
            <a:chOff x="-2426585" y="2628263"/>
            <a:chExt cx="1763779" cy="1763289"/>
          </a:xfrm>
        </p:grpSpPr>
        <p:sp>
          <p:nvSpPr>
            <p:cNvPr id="64" name="Rectangle 3">
              <a:extLst>
                <a:ext uri="{FF2B5EF4-FFF2-40B4-BE49-F238E27FC236}">
                  <a16:creationId xmlns:a16="http://schemas.microsoft.com/office/drawing/2014/main" id="{31AE3D09-E2E7-0F3D-9362-29C96AA3F3FD}"/>
                </a:ext>
              </a:extLst>
            </p:cNvPr>
            <p:cNvSpPr/>
            <p:nvPr/>
          </p:nvSpPr>
          <p:spPr>
            <a:xfrm>
              <a:off x="-2426585" y="2880263"/>
              <a:ext cx="763000" cy="252000"/>
            </a:xfrm>
            <a:prstGeom prst="rect">
              <a:avLst/>
            </a:prstGeom>
            <a:solidFill>
              <a:srgbClr val="1E49E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 / 73 / 226</a:t>
              </a:r>
            </a:p>
          </p:txBody>
        </p:sp>
        <p:sp>
          <p:nvSpPr>
            <p:cNvPr id="65" name="Rectangle 4">
              <a:extLst>
                <a:ext uri="{FF2B5EF4-FFF2-40B4-BE49-F238E27FC236}">
                  <a16:creationId xmlns:a16="http://schemas.microsoft.com/office/drawing/2014/main" id="{F35809C8-34FD-6228-78AD-E7747B0922FB}"/>
                </a:ext>
              </a:extLst>
            </p:cNvPr>
            <p:cNvSpPr/>
            <p:nvPr/>
          </p:nvSpPr>
          <p:spPr>
            <a:xfrm>
              <a:off x="-2426585" y="2628405"/>
              <a:ext cx="763000" cy="252000"/>
            </a:xfrm>
            <a:prstGeom prst="rect">
              <a:avLst/>
            </a:prstGeom>
            <a:solidFill>
              <a:srgbClr val="00338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 / 51 / 141</a:t>
              </a:r>
            </a:p>
          </p:txBody>
        </p:sp>
        <p:sp>
          <p:nvSpPr>
            <p:cNvPr id="66" name="Rectangle 5">
              <a:extLst>
                <a:ext uri="{FF2B5EF4-FFF2-40B4-BE49-F238E27FC236}">
                  <a16:creationId xmlns:a16="http://schemas.microsoft.com/office/drawing/2014/main" id="{4CD8A2EA-5408-0D91-2816-5872A40B6CD7}"/>
                </a:ext>
              </a:extLst>
            </p:cNvPr>
            <p:cNvSpPr/>
            <p:nvPr/>
          </p:nvSpPr>
          <p:spPr>
            <a:xfrm>
              <a:off x="-2426585" y="3132121"/>
              <a:ext cx="763000" cy="252000"/>
            </a:xfrm>
            <a:prstGeom prst="rect">
              <a:avLst/>
            </a:prstGeom>
            <a:solidFill>
              <a:srgbClr val="0C233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 / 35 / 60</a:t>
              </a:r>
            </a:p>
          </p:txBody>
        </p:sp>
        <p:sp>
          <p:nvSpPr>
            <p:cNvPr id="67" name="Rectangle 6">
              <a:extLst>
                <a:ext uri="{FF2B5EF4-FFF2-40B4-BE49-F238E27FC236}">
                  <a16:creationId xmlns:a16="http://schemas.microsoft.com/office/drawing/2014/main" id="{EB84E9C5-3C76-BAF3-8697-C05B6AAB34A9}"/>
                </a:ext>
              </a:extLst>
            </p:cNvPr>
            <p:cNvSpPr/>
            <p:nvPr/>
          </p:nvSpPr>
          <p:spPr>
            <a:xfrm>
              <a:off x="-2426585" y="3383979"/>
              <a:ext cx="763000" cy="252000"/>
            </a:xfrm>
            <a:prstGeom prst="rect">
              <a:avLst/>
            </a:prstGeom>
            <a:solidFill>
              <a:srgbClr val="ACEA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72 / 234 / 255</a:t>
              </a:r>
            </a:p>
          </p:txBody>
        </p:sp>
        <p:sp>
          <p:nvSpPr>
            <p:cNvPr id="68" name="Rectangle 19">
              <a:extLst>
                <a:ext uri="{FF2B5EF4-FFF2-40B4-BE49-F238E27FC236}">
                  <a16:creationId xmlns:a16="http://schemas.microsoft.com/office/drawing/2014/main" id="{21268DF0-7B50-13E8-A4AB-3D80DAA78D90}"/>
                </a:ext>
              </a:extLst>
            </p:cNvPr>
            <p:cNvSpPr/>
            <p:nvPr/>
          </p:nvSpPr>
          <p:spPr>
            <a:xfrm>
              <a:off x="-2426585" y="3635837"/>
              <a:ext cx="763000" cy="252000"/>
            </a:xfrm>
            <a:prstGeom prst="rect">
              <a:avLst/>
            </a:prstGeom>
            <a:solidFill>
              <a:srgbClr val="00B8F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 / 184 / 245</a:t>
              </a:r>
            </a:p>
          </p:txBody>
        </p:sp>
        <p:sp>
          <p:nvSpPr>
            <p:cNvPr id="69" name="Rectangle 20">
              <a:extLst>
                <a:ext uri="{FF2B5EF4-FFF2-40B4-BE49-F238E27FC236}">
                  <a16:creationId xmlns:a16="http://schemas.microsoft.com/office/drawing/2014/main" id="{35085FDA-0C43-F8D7-F83C-5002195F0861}"/>
                </a:ext>
              </a:extLst>
            </p:cNvPr>
            <p:cNvSpPr/>
            <p:nvPr/>
          </p:nvSpPr>
          <p:spPr>
            <a:xfrm>
              <a:off x="-2426585" y="3887695"/>
              <a:ext cx="763000" cy="252000"/>
            </a:xfrm>
            <a:prstGeom prst="rect">
              <a:avLst/>
            </a:prstGeom>
            <a:solidFill>
              <a:srgbClr val="7213E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14 / 19 / 234</a:t>
              </a:r>
            </a:p>
          </p:txBody>
        </p:sp>
        <p:sp>
          <p:nvSpPr>
            <p:cNvPr id="70" name="Rectangle 21">
              <a:extLst>
                <a:ext uri="{FF2B5EF4-FFF2-40B4-BE49-F238E27FC236}">
                  <a16:creationId xmlns:a16="http://schemas.microsoft.com/office/drawing/2014/main" id="{6FA7F97C-85A7-B88E-D554-63837E22E89E}"/>
                </a:ext>
              </a:extLst>
            </p:cNvPr>
            <p:cNvSpPr/>
            <p:nvPr/>
          </p:nvSpPr>
          <p:spPr>
            <a:xfrm>
              <a:off x="-2426585" y="4139552"/>
              <a:ext cx="763000" cy="252000"/>
            </a:xfrm>
            <a:prstGeom prst="rect">
              <a:avLst/>
            </a:prstGeom>
            <a:solidFill>
              <a:srgbClr val="FD349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53 / 52 / 156</a:t>
              </a:r>
            </a:p>
          </p:txBody>
        </p:sp>
        <p:sp>
          <p:nvSpPr>
            <p:cNvPr id="71" name="Rectangle 3">
              <a:extLst>
                <a:ext uri="{FF2B5EF4-FFF2-40B4-BE49-F238E27FC236}">
                  <a16:creationId xmlns:a16="http://schemas.microsoft.com/office/drawing/2014/main" id="{6EA289BA-1C74-83D3-343E-8F921A2460E8}"/>
                </a:ext>
              </a:extLst>
            </p:cNvPr>
            <p:cNvSpPr/>
            <p:nvPr/>
          </p:nvSpPr>
          <p:spPr>
            <a:xfrm>
              <a:off x="-1667383" y="2880263"/>
              <a:ext cx="252000" cy="252000"/>
            </a:xfrm>
            <a:prstGeom prst="rect">
              <a:avLst/>
            </a:prstGeom>
            <a:solidFill>
              <a:srgbClr val="4B6D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Rectangle 4">
              <a:extLst>
                <a:ext uri="{FF2B5EF4-FFF2-40B4-BE49-F238E27FC236}">
                  <a16:creationId xmlns:a16="http://schemas.microsoft.com/office/drawing/2014/main" id="{A41E8B2B-31E1-CACB-7FEC-281263CA5C33}"/>
                </a:ext>
              </a:extLst>
            </p:cNvPr>
            <p:cNvSpPr/>
            <p:nvPr/>
          </p:nvSpPr>
          <p:spPr>
            <a:xfrm>
              <a:off x="-1667383" y="2628405"/>
              <a:ext cx="252000" cy="252000"/>
            </a:xfrm>
            <a:prstGeom prst="rect">
              <a:avLst/>
            </a:prstGeom>
            <a:solidFill>
              <a:srgbClr val="335CA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Rectangle 5">
              <a:extLst>
                <a:ext uri="{FF2B5EF4-FFF2-40B4-BE49-F238E27FC236}">
                  <a16:creationId xmlns:a16="http://schemas.microsoft.com/office/drawing/2014/main" id="{CB54E047-6BAC-7A95-7AC0-CA52B66F5FB4}"/>
                </a:ext>
              </a:extLst>
            </p:cNvPr>
            <p:cNvSpPr/>
            <p:nvPr/>
          </p:nvSpPr>
          <p:spPr>
            <a:xfrm>
              <a:off x="-1667383" y="3132121"/>
              <a:ext cx="252000" cy="252000"/>
            </a:xfrm>
            <a:prstGeom prst="rect">
              <a:avLst/>
            </a:prstGeom>
            <a:solidFill>
              <a:srgbClr val="3D4F6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Rectangle 6">
              <a:extLst>
                <a:ext uri="{FF2B5EF4-FFF2-40B4-BE49-F238E27FC236}">
                  <a16:creationId xmlns:a16="http://schemas.microsoft.com/office/drawing/2014/main" id="{115F7B3B-9F13-93D2-CA48-3D3DF5905AFC}"/>
                </a:ext>
              </a:extLst>
            </p:cNvPr>
            <p:cNvSpPr/>
            <p:nvPr/>
          </p:nvSpPr>
          <p:spPr>
            <a:xfrm>
              <a:off x="-1667383" y="3383979"/>
              <a:ext cx="252000" cy="252000"/>
            </a:xfrm>
            <a:prstGeom prst="rect">
              <a:avLst/>
            </a:prstGeom>
            <a:solidFill>
              <a:srgbClr val="BDEE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Rectangle 19">
              <a:extLst>
                <a:ext uri="{FF2B5EF4-FFF2-40B4-BE49-F238E27FC236}">
                  <a16:creationId xmlns:a16="http://schemas.microsoft.com/office/drawing/2014/main" id="{755335CD-186D-0A70-86D6-65DF08D6B506}"/>
                </a:ext>
              </a:extLst>
            </p:cNvPr>
            <p:cNvSpPr/>
            <p:nvPr/>
          </p:nvSpPr>
          <p:spPr>
            <a:xfrm>
              <a:off x="-1667383" y="3635837"/>
              <a:ext cx="252000" cy="252000"/>
            </a:xfrm>
            <a:prstGeom prst="rect">
              <a:avLst/>
            </a:prstGeom>
            <a:solidFill>
              <a:srgbClr val="33C6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Rectangle 20">
              <a:extLst>
                <a:ext uri="{FF2B5EF4-FFF2-40B4-BE49-F238E27FC236}">
                  <a16:creationId xmlns:a16="http://schemas.microsoft.com/office/drawing/2014/main" id="{B544D4CF-1619-2694-6024-293BE20FDBDE}"/>
                </a:ext>
              </a:extLst>
            </p:cNvPr>
            <p:cNvSpPr/>
            <p:nvPr/>
          </p:nvSpPr>
          <p:spPr>
            <a:xfrm>
              <a:off x="-1667383" y="3887695"/>
              <a:ext cx="252000" cy="252000"/>
            </a:xfrm>
            <a:prstGeom prst="rect">
              <a:avLst/>
            </a:prstGeom>
            <a:solidFill>
              <a:srgbClr val="8E42E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Rectangle 21">
              <a:extLst>
                <a:ext uri="{FF2B5EF4-FFF2-40B4-BE49-F238E27FC236}">
                  <a16:creationId xmlns:a16="http://schemas.microsoft.com/office/drawing/2014/main" id="{940EC941-D7F8-C47D-8332-52B1CC06A581}"/>
                </a:ext>
              </a:extLst>
            </p:cNvPr>
            <p:cNvSpPr/>
            <p:nvPr/>
          </p:nvSpPr>
          <p:spPr>
            <a:xfrm>
              <a:off x="-1667383" y="4139552"/>
              <a:ext cx="252000" cy="252000"/>
            </a:xfrm>
            <a:prstGeom prst="rect">
              <a:avLst/>
            </a:prstGeom>
            <a:solidFill>
              <a:srgbClr val="FD5DB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Rectangle 3">
              <a:extLst>
                <a:ext uri="{FF2B5EF4-FFF2-40B4-BE49-F238E27FC236}">
                  <a16:creationId xmlns:a16="http://schemas.microsoft.com/office/drawing/2014/main" id="{43BAE1A4-6C40-D31C-D926-63D8E12F866E}"/>
                </a:ext>
              </a:extLst>
            </p:cNvPr>
            <p:cNvSpPr/>
            <p:nvPr/>
          </p:nvSpPr>
          <p:spPr>
            <a:xfrm>
              <a:off x="-1415383" y="2880263"/>
              <a:ext cx="252000" cy="252000"/>
            </a:xfrm>
            <a:prstGeom prst="rect">
              <a:avLst/>
            </a:prstGeom>
            <a:solidFill>
              <a:srgbClr val="7892E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Rectangle 4">
              <a:extLst>
                <a:ext uri="{FF2B5EF4-FFF2-40B4-BE49-F238E27FC236}">
                  <a16:creationId xmlns:a16="http://schemas.microsoft.com/office/drawing/2014/main" id="{BCA2909B-2498-3AFD-3552-FF664ED2A2B4}"/>
                </a:ext>
              </a:extLst>
            </p:cNvPr>
            <p:cNvSpPr/>
            <p:nvPr/>
          </p:nvSpPr>
          <p:spPr>
            <a:xfrm>
              <a:off x="-1415383" y="2628405"/>
              <a:ext cx="252000" cy="252000"/>
            </a:xfrm>
            <a:prstGeom prst="rect">
              <a:avLst/>
            </a:prstGeom>
            <a:solidFill>
              <a:srgbClr val="6685B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Rectangle 5">
              <a:extLst>
                <a:ext uri="{FF2B5EF4-FFF2-40B4-BE49-F238E27FC236}">
                  <a16:creationId xmlns:a16="http://schemas.microsoft.com/office/drawing/2014/main" id="{50EC7EA3-8E7F-D1A0-3A24-995FDEB0B189}"/>
                </a:ext>
              </a:extLst>
            </p:cNvPr>
            <p:cNvSpPr/>
            <p:nvPr/>
          </p:nvSpPr>
          <p:spPr>
            <a:xfrm>
              <a:off x="-1415383" y="3132121"/>
              <a:ext cx="252000" cy="252000"/>
            </a:xfrm>
            <a:prstGeom prst="rect">
              <a:avLst/>
            </a:prstGeom>
            <a:solidFill>
              <a:srgbClr val="6D7B8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Rectangle 6">
              <a:extLst>
                <a:ext uri="{FF2B5EF4-FFF2-40B4-BE49-F238E27FC236}">
                  <a16:creationId xmlns:a16="http://schemas.microsoft.com/office/drawing/2014/main" id="{A81D25D1-C761-3824-A19F-512D13C78944}"/>
                </a:ext>
              </a:extLst>
            </p:cNvPr>
            <p:cNvSpPr/>
            <p:nvPr/>
          </p:nvSpPr>
          <p:spPr>
            <a:xfrm>
              <a:off x="-1415383" y="3383979"/>
              <a:ext cx="252000" cy="252000"/>
            </a:xfrm>
            <a:prstGeom prst="rect">
              <a:avLst/>
            </a:prstGeom>
            <a:solidFill>
              <a:srgbClr val="CDF2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Rectangle 19">
              <a:extLst>
                <a:ext uri="{FF2B5EF4-FFF2-40B4-BE49-F238E27FC236}">
                  <a16:creationId xmlns:a16="http://schemas.microsoft.com/office/drawing/2014/main" id="{8ED4D697-C2C0-E34A-A61C-5D3E21E74B63}"/>
                </a:ext>
              </a:extLst>
            </p:cNvPr>
            <p:cNvSpPr/>
            <p:nvPr/>
          </p:nvSpPr>
          <p:spPr>
            <a:xfrm>
              <a:off x="-1415383" y="3635837"/>
              <a:ext cx="252000" cy="252000"/>
            </a:xfrm>
            <a:prstGeom prst="rect">
              <a:avLst/>
            </a:prstGeom>
            <a:solidFill>
              <a:srgbClr val="66D4F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Rectangle 20">
              <a:extLst>
                <a:ext uri="{FF2B5EF4-FFF2-40B4-BE49-F238E27FC236}">
                  <a16:creationId xmlns:a16="http://schemas.microsoft.com/office/drawing/2014/main" id="{E600634B-EFBB-3BC5-9CD9-12E9F16D473C}"/>
                </a:ext>
              </a:extLst>
            </p:cNvPr>
            <p:cNvSpPr/>
            <p:nvPr/>
          </p:nvSpPr>
          <p:spPr>
            <a:xfrm>
              <a:off x="-1415383" y="3887695"/>
              <a:ext cx="252000" cy="252000"/>
            </a:xfrm>
            <a:prstGeom prst="rect">
              <a:avLst/>
            </a:prstGeom>
            <a:solidFill>
              <a:srgbClr val="AA71F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Rectangle 21">
              <a:extLst>
                <a:ext uri="{FF2B5EF4-FFF2-40B4-BE49-F238E27FC236}">
                  <a16:creationId xmlns:a16="http://schemas.microsoft.com/office/drawing/2014/main" id="{0AA3270C-683B-2CF2-C96A-F27821F1B73A}"/>
                </a:ext>
              </a:extLst>
            </p:cNvPr>
            <p:cNvSpPr/>
            <p:nvPr/>
          </p:nvSpPr>
          <p:spPr>
            <a:xfrm>
              <a:off x="-1415383" y="4139552"/>
              <a:ext cx="252000" cy="252000"/>
            </a:xfrm>
            <a:prstGeom prst="rect">
              <a:avLst/>
            </a:prstGeom>
            <a:solidFill>
              <a:srgbClr val="FE85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Rectangle 3">
              <a:extLst>
                <a:ext uri="{FF2B5EF4-FFF2-40B4-BE49-F238E27FC236}">
                  <a16:creationId xmlns:a16="http://schemas.microsoft.com/office/drawing/2014/main" id="{4D623955-4698-B8C2-3108-7DF35BE57145}"/>
                </a:ext>
              </a:extLst>
            </p:cNvPr>
            <p:cNvSpPr/>
            <p:nvPr/>
          </p:nvSpPr>
          <p:spPr>
            <a:xfrm>
              <a:off x="-1166305" y="2880263"/>
              <a:ext cx="252000" cy="252000"/>
            </a:xfrm>
            <a:prstGeom prst="rect">
              <a:avLst/>
            </a:prstGeom>
            <a:solidFill>
              <a:srgbClr val="A5B6F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Rectangle 4">
              <a:extLst>
                <a:ext uri="{FF2B5EF4-FFF2-40B4-BE49-F238E27FC236}">
                  <a16:creationId xmlns:a16="http://schemas.microsoft.com/office/drawing/2014/main" id="{3F9EBED8-0C76-9D3B-CFAA-67B5EFBD0643}"/>
                </a:ext>
              </a:extLst>
            </p:cNvPr>
            <p:cNvSpPr/>
            <p:nvPr/>
          </p:nvSpPr>
          <p:spPr>
            <a:xfrm>
              <a:off x="-1166305" y="2628405"/>
              <a:ext cx="252000" cy="252000"/>
            </a:xfrm>
            <a:prstGeom prst="rect">
              <a:avLst/>
            </a:prstGeom>
            <a:solidFill>
              <a:srgbClr val="99ADD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Rectangle 5">
              <a:extLst>
                <a:ext uri="{FF2B5EF4-FFF2-40B4-BE49-F238E27FC236}">
                  <a16:creationId xmlns:a16="http://schemas.microsoft.com/office/drawing/2014/main" id="{3B4C9347-C397-2F4D-22BF-9784F677B043}"/>
                </a:ext>
              </a:extLst>
            </p:cNvPr>
            <p:cNvSpPr/>
            <p:nvPr/>
          </p:nvSpPr>
          <p:spPr>
            <a:xfrm>
              <a:off x="-1166305" y="3132121"/>
              <a:ext cx="252000" cy="252000"/>
            </a:xfrm>
            <a:prstGeom prst="rect">
              <a:avLst/>
            </a:prstGeom>
            <a:solidFill>
              <a:srgbClr val="9EA7B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Rectangle 6">
              <a:extLst>
                <a:ext uri="{FF2B5EF4-FFF2-40B4-BE49-F238E27FC236}">
                  <a16:creationId xmlns:a16="http://schemas.microsoft.com/office/drawing/2014/main" id="{A219C24D-54E8-0A5B-6AA1-AC887254FA24}"/>
                </a:ext>
              </a:extLst>
            </p:cNvPr>
            <p:cNvSpPr/>
            <p:nvPr/>
          </p:nvSpPr>
          <p:spPr>
            <a:xfrm>
              <a:off x="-1166305" y="3383979"/>
              <a:ext cx="252000" cy="252000"/>
            </a:xfrm>
            <a:prstGeom prst="rect">
              <a:avLst/>
            </a:prstGeom>
            <a:solidFill>
              <a:srgbClr val="DEF7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Rectangle 19">
              <a:extLst>
                <a:ext uri="{FF2B5EF4-FFF2-40B4-BE49-F238E27FC236}">
                  <a16:creationId xmlns:a16="http://schemas.microsoft.com/office/drawing/2014/main" id="{093F66A4-F4F6-914E-AC2E-131A3F5568A6}"/>
                </a:ext>
              </a:extLst>
            </p:cNvPr>
            <p:cNvSpPr/>
            <p:nvPr/>
          </p:nvSpPr>
          <p:spPr>
            <a:xfrm>
              <a:off x="-1166305" y="3635837"/>
              <a:ext cx="252000" cy="252000"/>
            </a:xfrm>
            <a:prstGeom prst="rect">
              <a:avLst/>
            </a:prstGeom>
            <a:solidFill>
              <a:srgbClr val="99E3F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Rectangle 20">
              <a:extLst>
                <a:ext uri="{FF2B5EF4-FFF2-40B4-BE49-F238E27FC236}">
                  <a16:creationId xmlns:a16="http://schemas.microsoft.com/office/drawing/2014/main" id="{26BF20B5-1E03-0C1E-F422-A9F8A5A9ED22}"/>
                </a:ext>
              </a:extLst>
            </p:cNvPr>
            <p:cNvSpPr/>
            <p:nvPr/>
          </p:nvSpPr>
          <p:spPr>
            <a:xfrm>
              <a:off x="-1166305" y="3887695"/>
              <a:ext cx="252000" cy="252000"/>
            </a:xfrm>
            <a:prstGeom prst="rect">
              <a:avLst/>
            </a:prstGeom>
            <a:solidFill>
              <a:srgbClr val="C7A1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Rectangle 21">
              <a:extLst>
                <a:ext uri="{FF2B5EF4-FFF2-40B4-BE49-F238E27FC236}">
                  <a16:creationId xmlns:a16="http://schemas.microsoft.com/office/drawing/2014/main" id="{1C6B28C0-CE3E-A088-4C9B-BC3353442E7A}"/>
                </a:ext>
              </a:extLst>
            </p:cNvPr>
            <p:cNvSpPr/>
            <p:nvPr/>
          </p:nvSpPr>
          <p:spPr>
            <a:xfrm>
              <a:off x="-1166305" y="4139552"/>
              <a:ext cx="252000" cy="252000"/>
            </a:xfrm>
            <a:prstGeom prst="rect">
              <a:avLst/>
            </a:prstGeom>
            <a:solidFill>
              <a:srgbClr val="FEAED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Rectangle 3">
              <a:extLst>
                <a:ext uri="{FF2B5EF4-FFF2-40B4-BE49-F238E27FC236}">
                  <a16:creationId xmlns:a16="http://schemas.microsoft.com/office/drawing/2014/main" id="{9C11981A-E6BA-5713-FCBB-8EE62E6C51BC}"/>
                </a:ext>
              </a:extLst>
            </p:cNvPr>
            <p:cNvSpPr/>
            <p:nvPr/>
          </p:nvSpPr>
          <p:spPr>
            <a:xfrm>
              <a:off x="-914806" y="2880121"/>
              <a:ext cx="252000" cy="252000"/>
            </a:xfrm>
            <a:prstGeom prst="rect">
              <a:avLst/>
            </a:prstGeom>
            <a:solidFill>
              <a:srgbClr val="D2DBF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Rectangle 4">
              <a:extLst>
                <a:ext uri="{FF2B5EF4-FFF2-40B4-BE49-F238E27FC236}">
                  <a16:creationId xmlns:a16="http://schemas.microsoft.com/office/drawing/2014/main" id="{7DAABB40-65D8-99C9-1E1F-C25EE45DCE6C}"/>
                </a:ext>
              </a:extLst>
            </p:cNvPr>
            <p:cNvSpPr/>
            <p:nvPr/>
          </p:nvSpPr>
          <p:spPr>
            <a:xfrm>
              <a:off x="-914806" y="2628263"/>
              <a:ext cx="252000" cy="252000"/>
            </a:xfrm>
            <a:prstGeom prst="rect">
              <a:avLst/>
            </a:prstGeom>
            <a:solidFill>
              <a:srgbClr val="CCD6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Rectangle 5">
              <a:extLst>
                <a:ext uri="{FF2B5EF4-FFF2-40B4-BE49-F238E27FC236}">
                  <a16:creationId xmlns:a16="http://schemas.microsoft.com/office/drawing/2014/main" id="{715D7F64-28A1-651F-92CF-E27931AEA5DF}"/>
                </a:ext>
              </a:extLst>
            </p:cNvPr>
            <p:cNvSpPr/>
            <p:nvPr/>
          </p:nvSpPr>
          <p:spPr>
            <a:xfrm>
              <a:off x="-914806" y="3131979"/>
              <a:ext cx="252000" cy="252000"/>
            </a:xfrm>
            <a:prstGeom prst="rect">
              <a:avLst/>
            </a:prstGeom>
            <a:solidFill>
              <a:srgbClr val="CED3D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Rectangle 6">
              <a:extLst>
                <a:ext uri="{FF2B5EF4-FFF2-40B4-BE49-F238E27FC236}">
                  <a16:creationId xmlns:a16="http://schemas.microsoft.com/office/drawing/2014/main" id="{383289C4-E944-688B-1671-0963B40C2362}"/>
                </a:ext>
              </a:extLst>
            </p:cNvPr>
            <p:cNvSpPr/>
            <p:nvPr/>
          </p:nvSpPr>
          <p:spPr>
            <a:xfrm>
              <a:off x="-914806" y="3383837"/>
              <a:ext cx="252000" cy="252000"/>
            </a:xfrm>
            <a:prstGeom prst="rect">
              <a:avLst/>
            </a:prstGeom>
            <a:solidFill>
              <a:srgbClr val="EEFB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Rectangle 19">
              <a:extLst>
                <a:ext uri="{FF2B5EF4-FFF2-40B4-BE49-F238E27FC236}">
                  <a16:creationId xmlns:a16="http://schemas.microsoft.com/office/drawing/2014/main" id="{5E89D53F-FFC6-8705-6C1E-83331A385A00}"/>
                </a:ext>
              </a:extLst>
            </p:cNvPr>
            <p:cNvSpPr/>
            <p:nvPr/>
          </p:nvSpPr>
          <p:spPr>
            <a:xfrm>
              <a:off x="-914806" y="3635695"/>
              <a:ext cx="252000" cy="252000"/>
            </a:xfrm>
            <a:prstGeom prst="rect">
              <a:avLst/>
            </a:prstGeom>
            <a:solidFill>
              <a:srgbClr val="CCF1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Rectangle 20">
              <a:extLst>
                <a:ext uri="{FF2B5EF4-FFF2-40B4-BE49-F238E27FC236}">
                  <a16:creationId xmlns:a16="http://schemas.microsoft.com/office/drawing/2014/main" id="{B454119A-0651-BD2B-D0A6-6535CEAE7739}"/>
                </a:ext>
              </a:extLst>
            </p:cNvPr>
            <p:cNvSpPr/>
            <p:nvPr/>
          </p:nvSpPr>
          <p:spPr>
            <a:xfrm>
              <a:off x="-914806" y="3887553"/>
              <a:ext cx="252000" cy="252000"/>
            </a:xfrm>
            <a:prstGeom prst="rect">
              <a:avLst/>
            </a:prstGeom>
            <a:solidFill>
              <a:srgbClr val="E3D0F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Rectangle 21">
              <a:extLst>
                <a:ext uri="{FF2B5EF4-FFF2-40B4-BE49-F238E27FC236}">
                  <a16:creationId xmlns:a16="http://schemas.microsoft.com/office/drawing/2014/main" id="{53612813-390B-B945-1152-2BB1F32B4932}"/>
                </a:ext>
              </a:extLst>
            </p:cNvPr>
            <p:cNvSpPr/>
            <p:nvPr/>
          </p:nvSpPr>
          <p:spPr>
            <a:xfrm>
              <a:off x="-914806" y="4139410"/>
              <a:ext cx="252000" cy="252000"/>
            </a:xfrm>
            <a:prstGeom prst="rect">
              <a:avLst/>
            </a:prstGeom>
            <a:solidFill>
              <a:srgbClr val="FFD6E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99" name="직선 연결선 98">
            <a:extLst>
              <a:ext uri="{FF2B5EF4-FFF2-40B4-BE49-F238E27FC236}">
                <a16:creationId xmlns:a16="http://schemas.microsoft.com/office/drawing/2014/main" id="{AB82463E-7643-A9A7-2E90-2B500F4C9327}"/>
              </a:ext>
            </a:extLst>
          </p:cNvPr>
          <p:cNvCxnSpPr/>
          <p:nvPr userDrawn="1"/>
        </p:nvCxnSpPr>
        <p:spPr bwMode="auto">
          <a:xfrm flipH="1">
            <a:off x="9477375" y="6637589"/>
            <a:ext cx="42862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4E4F50"/>
            </a:solidFill>
            <a:prstDash val="solid"/>
            <a:round/>
            <a:headEnd type="none" w="med" len="med"/>
            <a:tailEnd type="oval" w="sm" len="sm"/>
          </a:ln>
          <a:effectLst/>
        </p:spPr>
      </p:cxn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A3C2A912-F7CF-95B4-2770-04BB1D22DFF7}"/>
              </a:ext>
            </a:extLst>
          </p:cNvPr>
          <p:cNvSpPr/>
          <p:nvPr userDrawn="1"/>
        </p:nvSpPr>
        <p:spPr>
          <a:xfrm>
            <a:off x="6007845" y="6469597"/>
            <a:ext cx="33984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400" b="1" i="1" dirty="0">
                <a:ln w="12700">
                  <a:noFill/>
                  <a:prstDash val="solid"/>
                </a:ln>
                <a:solidFill>
                  <a:srgbClr val="4E4F50"/>
                </a:solidFill>
                <a:latin typeface="+mj-ea"/>
              </a:rPr>
              <a:t>To the world, For the future, With us.</a:t>
            </a:r>
            <a:endParaRPr kumimoji="0" lang="ko-KR" altLang="en-US" sz="1400" b="1" i="1" dirty="0">
              <a:ln w="12700">
                <a:noFill/>
                <a:prstDash val="solid"/>
              </a:ln>
              <a:solidFill>
                <a:srgbClr val="4E4F50"/>
              </a:solidFill>
              <a:latin typeface="+mj-ea"/>
            </a:endParaRPr>
          </a:p>
        </p:txBody>
      </p:sp>
      <p:cxnSp>
        <p:nvCxnSpPr>
          <p:cNvPr id="101" name="직선 연결선 100">
            <a:extLst>
              <a:ext uri="{FF2B5EF4-FFF2-40B4-BE49-F238E27FC236}">
                <a16:creationId xmlns:a16="http://schemas.microsoft.com/office/drawing/2014/main" id="{B9A9F950-3659-5293-B91E-966040AB0F5E}"/>
              </a:ext>
            </a:extLst>
          </p:cNvPr>
          <p:cNvCxnSpPr/>
          <p:nvPr userDrawn="1"/>
        </p:nvCxnSpPr>
        <p:spPr bwMode="auto">
          <a:xfrm>
            <a:off x="1" y="6637589"/>
            <a:ext cx="583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4E4F50"/>
            </a:solidFill>
            <a:prstDash val="solid"/>
            <a:round/>
            <a:headEnd type="none" w="med" len="med"/>
            <a:tailEnd type="oval" w="sm" len="sm"/>
          </a:ln>
          <a:effectLst/>
        </p:spPr>
      </p:cxnSp>
      <p:grpSp>
        <p:nvGrpSpPr>
          <p:cNvPr id="3" name="그룹 2">
            <a:extLst>
              <a:ext uri="{FF2B5EF4-FFF2-40B4-BE49-F238E27FC236}">
                <a16:creationId xmlns:a16="http://schemas.microsoft.com/office/drawing/2014/main" id="{9411E7D9-C4DF-45F9-0359-7942A29ADFB6}"/>
              </a:ext>
            </a:extLst>
          </p:cNvPr>
          <p:cNvGrpSpPr/>
          <p:nvPr userDrawn="1"/>
        </p:nvGrpSpPr>
        <p:grpSpPr>
          <a:xfrm>
            <a:off x="8534231" y="-387424"/>
            <a:ext cx="1098719" cy="252142"/>
            <a:chOff x="8534231" y="-387424"/>
            <a:chExt cx="1098719" cy="252142"/>
          </a:xfrm>
        </p:grpSpPr>
        <p:sp>
          <p:nvSpPr>
            <p:cNvPr id="22" name="Rectangle 4">
              <a:extLst>
                <a:ext uri="{FF2B5EF4-FFF2-40B4-BE49-F238E27FC236}">
                  <a16:creationId xmlns:a16="http://schemas.microsoft.com/office/drawing/2014/main" id="{0033816B-7526-423B-6E55-E0A9F25D34CD}"/>
                </a:ext>
              </a:extLst>
            </p:cNvPr>
            <p:cNvSpPr/>
            <p:nvPr userDrawn="1"/>
          </p:nvSpPr>
          <p:spPr>
            <a:xfrm>
              <a:off x="8534231" y="-387282"/>
              <a:ext cx="980176" cy="252000"/>
            </a:xfrm>
            <a:prstGeom prst="rect">
              <a:avLst/>
            </a:pr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 / 35 / 60`</a:t>
              </a:r>
            </a:p>
          </p:txBody>
        </p:sp>
        <p:sp>
          <p:nvSpPr>
            <p:cNvPr id="23" name="Rectangle 4">
              <a:extLst>
                <a:ext uri="{FF2B5EF4-FFF2-40B4-BE49-F238E27FC236}">
                  <a16:creationId xmlns:a16="http://schemas.microsoft.com/office/drawing/2014/main" id="{C262D46D-0B98-957C-D1FA-34E4C7F7F2F0}"/>
                </a:ext>
              </a:extLst>
            </p:cNvPr>
            <p:cNvSpPr/>
            <p:nvPr userDrawn="1"/>
          </p:nvSpPr>
          <p:spPr>
            <a:xfrm>
              <a:off x="9124695" y="-387282"/>
              <a:ext cx="127497" cy="252000"/>
            </a:xfrm>
            <a:prstGeom prst="rect">
              <a:avLst/>
            </a:prstGeom>
            <a:solidFill>
              <a:srgbClr val="4E4F5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Rectangle 4">
              <a:extLst>
                <a:ext uri="{FF2B5EF4-FFF2-40B4-BE49-F238E27FC236}">
                  <a16:creationId xmlns:a16="http://schemas.microsoft.com/office/drawing/2014/main" id="{523B1C05-C478-D3C2-FA82-32848FAEF9D4}"/>
                </a:ext>
              </a:extLst>
            </p:cNvPr>
            <p:cNvSpPr/>
            <p:nvPr userDrawn="1"/>
          </p:nvSpPr>
          <p:spPr>
            <a:xfrm>
              <a:off x="9252192" y="-387282"/>
              <a:ext cx="127497" cy="252000"/>
            </a:xfrm>
            <a:prstGeom prst="rect">
              <a:avLst/>
            </a:prstGeom>
            <a:solidFill>
              <a:srgbClr val="E3E4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Rectangle 4">
              <a:extLst>
                <a:ext uri="{FF2B5EF4-FFF2-40B4-BE49-F238E27FC236}">
                  <a16:creationId xmlns:a16="http://schemas.microsoft.com/office/drawing/2014/main" id="{DBE7739A-1E9A-8092-B471-80571856F970}"/>
                </a:ext>
              </a:extLst>
            </p:cNvPr>
            <p:cNvSpPr/>
            <p:nvPr userDrawn="1"/>
          </p:nvSpPr>
          <p:spPr>
            <a:xfrm>
              <a:off x="9378211" y="-387282"/>
              <a:ext cx="127497" cy="252000"/>
            </a:xfrm>
            <a:prstGeom prst="rect">
              <a:avLst/>
            </a:prstGeom>
            <a:solidFill>
              <a:srgbClr val="F4F4F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Rectangle 4">
              <a:extLst>
                <a:ext uri="{FF2B5EF4-FFF2-40B4-BE49-F238E27FC236}">
                  <a16:creationId xmlns:a16="http://schemas.microsoft.com/office/drawing/2014/main" id="{CDEF12A8-D005-ED9E-90AD-34250A831C11}"/>
                </a:ext>
              </a:extLst>
            </p:cNvPr>
            <p:cNvSpPr/>
            <p:nvPr userDrawn="1"/>
          </p:nvSpPr>
          <p:spPr>
            <a:xfrm>
              <a:off x="9505453" y="-387424"/>
              <a:ext cx="127497" cy="252000"/>
            </a:xfrm>
            <a:prstGeom prst="rect">
              <a:avLst/>
            </a:prstGeom>
            <a:solidFill>
              <a:srgbClr val="B2DFE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B2DFE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193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2">
            <a:extLst>
              <a:ext uri="{FF2B5EF4-FFF2-40B4-BE49-F238E27FC236}">
                <a16:creationId xmlns:a16="http://schemas.microsoft.com/office/drawing/2014/main" id="{A038D0FC-9656-55EA-6B1D-B695D5D57346}"/>
              </a:ext>
            </a:extLst>
          </p:cNvPr>
          <p:cNvGrpSpPr/>
          <p:nvPr userDrawn="1"/>
        </p:nvGrpSpPr>
        <p:grpSpPr>
          <a:xfrm>
            <a:off x="0" y="1773837"/>
            <a:ext cx="2267580" cy="4104000"/>
            <a:chOff x="0" y="0"/>
            <a:chExt cx="1119793" cy="1969305"/>
          </a:xfrm>
        </p:grpSpPr>
        <p:sp>
          <p:nvSpPr>
            <p:cNvPr id="36" name="Freeform 3">
              <a:extLst>
                <a:ext uri="{FF2B5EF4-FFF2-40B4-BE49-F238E27FC236}">
                  <a16:creationId xmlns:a16="http://schemas.microsoft.com/office/drawing/2014/main" id="{FE0B3B64-C956-A715-0FC4-E96A5DE4555D}"/>
                </a:ext>
              </a:extLst>
            </p:cNvPr>
            <p:cNvSpPr/>
            <p:nvPr/>
          </p:nvSpPr>
          <p:spPr>
            <a:xfrm>
              <a:off x="0" y="0"/>
              <a:ext cx="1119793" cy="1969305"/>
            </a:xfrm>
            <a:custGeom>
              <a:avLst/>
              <a:gdLst/>
              <a:ahLst/>
              <a:cxnLst/>
              <a:rect l="l" t="t" r="r" b="b"/>
              <a:pathLst>
                <a:path w="1119793" h="1969305">
                  <a:moveTo>
                    <a:pt x="0" y="0"/>
                  </a:moveTo>
                  <a:lnTo>
                    <a:pt x="1119793" y="0"/>
                  </a:lnTo>
                  <a:lnTo>
                    <a:pt x="1119793" y="1969305"/>
                  </a:lnTo>
                  <a:lnTo>
                    <a:pt x="0" y="1969305"/>
                  </a:lnTo>
                  <a:close/>
                </a:path>
              </a:pathLst>
            </a:custGeom>
            <a:solidFill>
              <a:srgbClr val="E3E4E0"/>
            </a:solidFill>
          </p:spPr>
          <p:txBody>
            <a:bodyPr/>
            <a:lstStyle/>
            <a:p>
              <a:endParaRPr lang="ko-KR" altLang="en-US" b="1"/>
            </a:p>
          </p:txBody>
        </p:sp>
        <p:sp>
          <p:nvSpPr>
            <p:cNvPr id="55" name="TextBox 4">
              <a:extLst>
                <a:ext uri="{FF2B5EF4-FFF2-40B4-BE49-F238E27FC236}">
                  <a16:creationId xmlns:a16="http://schemas.microsoft.com/office/drawing/2014/main" id="{3C91E266-B0E4-C794-64D7-522932142018}"/>
                </a:ext>
              </a:extLst>
            </p:cNvPr>
            <p:cNvSpPr txBox="1"/>
            <p:nvPr/>
          </p:nvSpPr>
          <p:spPr>
            <a:xfrm>
              <a:off x="0" y="-19050"/>
              <a:ext cx="1119793" cy="1988355"/>
            </a:xfrm>
            <a:prstGeom prst="rect">
              <a:avLst/>
            </a:prstGeom>
          </p:spPr>
          <p:txBody>
            <a:bodyPr lIns="27093" tIns="27093" rIns="27093" bIns="27093" rtlCol="0" anchor="ctr"/>
            <a:lstStyle/>
            <a:p>
              <a:pPr algn="ctr">
                <a:lnSpc>
                  <a:spcPts val="1493"/>
                </a:lnSpc>
              </a:pPr>
              <a:endParaRPr b="1"/>
            </a:p>
          </p:txBody>
        </p:sp>
      </p:grp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358F7B12-3D0F-407F-BDAC-8BA1D0B5801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63096" y="6357054"/>
            <a:ext cx="1619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ko-KR"/>
            </a:defPPr>
            <a:lvl1pPr algn="ctr" rtl="0" fontAlgn="auto" latinLnBrk="1">
              <a:spcBef>
                <a:spcPts val="0"/>
              </a:spcBef>
              <a:spcAft>
                <a:spcPts val="0"/>
              </a:spcAft>
              <a:defRPr kumimoji="0" sz="10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>
              <a:defRPr/>
            </a:pPr>
            <a:fld id="{57130410-0A2F-41CB-B223-A1672F0EE241}" type="slidenum">
              <a:rPr lang="ko-KR" altLang="en-US" smtClean="0"/>
              <a:pPr>
                <a:defRPr/>
              </a:pPr>
              <a:t>‹#›</a:t>
            </a:fld>
            <a:endParaRPr lang="ko-KR" altLang="en-US"/>
          </a:p>
        </p:txBody>
      </p:sp>
      <p:sp>
        <p:nvSpPr>
          <p:cNvPr id="56" name="TextBox 7">
            <a:extLst>
              <a:ext uri="{FF2B5EF4-FFF2-40B4-BE49-F238E27FC236}">
                <a16:creationId xmlns:a16="http://schemas.microsoft.com/office/drawing/2014/main" id="{7ACF78B8-312E-EC4D-FD9A-3687F3F1FF50}"/>
              </a:ext>
            </a:extLst>
          </p:cNvPr>
          <p:cNvSpPr txBox="1"/>
          <p:nvPr userDrawn="1"/>
        </p:nvSpPr>
        <p:spPr>
          <a:xfrm>
            <a:off x="3287490" y="3122553"/>
            <a:ext cx="1008000" cy="20764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1679"/>
              </a:lnSpc>
            </a:pPr>
            <a:r>
              <a:rPr lang="en-US" sz="1200" dirty="0">
                <a:solidFill>
                  <a:srgbClr val="4E4F50"/>
                </a:solidFill>
                <a:latin typeface="Outfit" pitchFamily="2" charset="0"/>
                <a:ea typeface="Public Sans Bold"/>
                <a:cs typeface="Public Sans Bold"/>
                <a:sym typeface="Public Sans Bold"/>
              </a:rPr>
              <a:t>Name</a:t>
            </a:r>
          </a:p>
        </p:txBody>
      </p:sp>
      <p:sp>
        <p:nvSpPr>
          <p:cNvPr id="60" name="TextBox 9">
            <a:extLst>
              <a:ext uri="{FF2B5EF4-FFF2-40B4-BE49-F238E27FC236}">
                <a16:creationId xmlns:a16="http://schemas.microsoft.com/office/drawing/2014/main" id="{C9399113-3524-7F70-B353-219A2BF675AB}"/>
              </a:ext>
            </a:extLst>
          </p:cNvPr>
          <p:cNvSpPr txBox="1"/>
          <p:nvPr userDrawn="1"/>
        </p:nvSpPr>
        <p:spPr>
          <a:xfrm>
            <a:off x="3287490" y="3452281"/>
            <a:ext cx="1008000" cy="20764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1679"/>
              </a:lnSpc>
            </a:pPr>
            <a:r>
              <a:rPr lang="en-US" sz="1200" dirty="0">
                <a:solidFill>
                  <a:srgbClr val="4E4F50"/>
                </a:solidFill>
                <a:latin typeface="Outfit" pitchFamily="2" charset="0"/>
                <a:ea typeface="Public Sans Bold"/>
                <a:cs typeface="Public Sans Bold"/>
                <a:sym typeface="Public Sans Bold"/>
              </a:rPr>
              <a:t>Position</a:t>
            </a:r>
          </a:p>
        </p:txBody>
      </p:sp>
      <p:sp>
        <p:nvSpPr>
          <p:cNvPr id="62" name="TextBox 11">
            <a:extLst>
              <a:ext uri="{FF2B5EF4-FFF2-40B4-BE49-F238E27FC236}">
                <a16:creationId xmlns:a16="http://schemas.microsoft.com/office/drawing/2014/main" id="{5257CDD8-AE52-3EFB-B90F-AE882C4E582F}"/>
              </a:ext>
            </a:extLst>
          </p:cNvPr>
          <p:cNvSpPr txBox="1"/>
          <p:nvPr userDrawn="1"/>
        </p:nvSpPr>
        <p:spPr>
          <a:xfrm>
            <a:off x="3287490" y="3781817"/>
            <a:ext cx="1008000" cy="20764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1679"/>
              </a:lnSpc>
            </a:pPr>
            <a:r>
              <a:rPr lang="en-US" sz="1200" dirty="0">
                <a:solidFill>
                  <a:srgbClr val="4E4F50"/>
                </a:solidFill>
                <a:latin typeface="Outfit" pitchFamily="2" charset="0"/>
                <a:ea typeface="Public Sans Bold"/>
                <a:cs typeface="Public Sans Bold"/>
                <a:sym typeface="Public Sans Bold"/>
              </a:rPr>
              <a:t>Mobile</a:t>
            </a:r>
          </a:p>
        </p:txBody>
      </p:sp>
      <p:sp>
        <p:nvSpPr>
          <p:cNvPr id="64" name="TextBox 13">
            <a:extLst>
              <a:ext uri="{FF2B5EF4-FFF2-40B4-BE49-F238E27FC236}">
                <a16:creationId xmlns:a16="http://schemas.microsoft.com/office/drawing/2014/main" id="{EA5F57E4-FB6D-2AC8-B5D7-943165ED0505}"/>
              </a:ext>
            </a:extLst>
          </p:cNvPr>
          <p:cNvSpPr txBox="1"/>
          <p:nvPr userDrawn="1"/>
        </p:nvSpPr>
        <p:spPr>
          <a:xfrm>
            <a:off x="3287490" y="4111736"/>
            <a:ext cx="1008000" cy="20764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1679"/>
              </a:lnSpc>
            </a:pPr>
            <a:r>
              <a:rPr lang="en-US" altLang="ko-KR" sz="1200" dirty="0">
                <a:solidFill>
                  <a:srgbClr val="4E4F50"/>
                </a:solidFill>
                <a:latin typeface="Outfit" pitchFamily="2" charset="0"/>
                <a:ea typeface="Public Sans Bold"/>
                <a:cs typeface="Public Sans Bold"/>
                <a:sym typeface="Public Sans Bold"/>
              </a:rPr>
              <a:t>E-mail</a:t>
            </a:r>
          </a:p>
        </p:txBody>
      </p:sp>
      <p:sp>
        <p:nvSpPr>
          <p:cNvPr id="66" name="TextBox 15">
            <a:extLst>
              <a:ext uri="{FF2B5EF4-FFF2-40B4-BE49-F238E27FC236}">
                <a16:creationId xmlns:a16="http://schemas.microsoft.com/office/drawing/2014/main" id="{8956A2DE-2943-1A71-B022-129FC28D52FE}"/>
              </a:ext>
            </a:extLst>
          </p:cNvPr>
          <p:cNvSpPr txBox="1"/>
          <p:nvPr userDrawn="1"/>
        </p:nvSpPr>
        <p:spPr>
          <a:xfrm>
            <a:off x="1757472" y="1926977"/>
            <a:ext cx="3126072" cy="58240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4900"/>
              </a:lnSpc>
            </a:pPr>
            <a:r>
              <a:rPr lang="en-US" sz="3500" spc="175" dirty="0">
                <a:solidFill>
                  <a:srgbClr val="4E4F50"/>
                </a:solidFill>
                <a:latin typeface="Outfit SemiBold" pitchFamily="2" charset="0"/>
                <a:ea typeface="Public Sans Bold"/>
                <a:cs typeface="Public Sans Bold"/>
                <a:sym typeface="Public Sans Bold"/>
              </a:rPr>
              <a:t>CONTACT</a:t>
            </a:r>
          </a:p>
        </p:txBody>
      </p:sp>
      <p:sp>
        <p:nvSpPr>
          <p:cNvPr id="71" name="내용 개체 틀 18">
            <a:extLst>
              <a:ext uri="{FF2B5EF4-FFF2-40B4-BE49-F238E27FC236}">
                <a16:creationId xmlns:a16="http://schemas.microsoft.com/office/drawing/2014/main" id="{CB3E853F-7249-B830-8970-EBFEE441C47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312" y="3122553"/>
            <a:ext cx="2620800" cy="20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lnSpc>
                <a:spcPts val="1679"/>
              </a:lnSpc>
              <a:spcBef>
                <a:spcPts val="0"/>
              </a:spcBef>
              <a:buFontTx/>
              <a:buNone/>
              <a:defRPr lang="ko-KR" altLang="en-US" sz="1000" b="0" smtClean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+mj-cs"/>
              </a:defRPr>
            </a:lvl1pPr>
            <a:lvl2pPr marL="185738" indent="0">
              <a:buFontTx/>
              <a:buNone/>
              <a:defRPr lang="ko-KR" altLang="en-US" sz="2000" b="1" smtClean="0">
                <a:latin typeface="맑은 고딕" pitchFamily="50" charset="-127"/>
                <a:ea typeface="맑은 고딕" pitchFamily="50" charset="-127"/>
              </a:defRPr>
            </a:lvl2pPr>
            <a:lvl3pPr marL="452437" indent="0">
              <a:buFontTx/>
              <a:buNone/>
              <a:defRPr lang="ko-KR" altLang="en-US" sz="2000" b="1" smtClean="0">
                <a:latin typeface="맑은 고딕" pitchFamily="50" charset="-127"/>
                <a:ea typeface="맑은 고딕" pitchFamily="50" charset="-127"/>
              </a:defRPr>
            </a:lvl3pPr>
            <a:lvl4pPr marL="623887" indent="0">
              <a:buFontTx/>
              <a:buNone/>
              <a:defRPr lang="ko-KR" altLang="en-US" sz="2000" b="1" smtClean="0">
                <a:latin typeface="맑은 고딕" pitchFamily="50" charset="-127"/>
                <a:ea typeface="맑은 고딕" pitchFamily="50" charset="-127"/>
              </a:defRPr>
            </a:lvl4pPr>
            <a:lvl5pPr marL="811212" indent="0">
              <a:buFontTx/>
              <a:buNone/>
              <a:defRPr lang="ko-KR" altLang="en-US" sz="2000" b="1">
                <a:latin typeface="맑은 고딕" pitchFamily="50" charset="-127"/>
                <a:ea typeface="맑은 고딕" pitchFamily="50" charset="-127"/>
              </a:defRPr>
            </a:lvl5pPr>
          </a:lstStyle>
          <a:p>
            <a:pPr marL="0" marR="0" lvl="0" indent="0" algn="l" defTabSz="410291" rtl="0" eaLnBrk="0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dirty="0"/>
              <a:t>마스터 텍스트 스타일 편집</a:t>
            </a:r>
          </a:p>
        </p:txBody>
      </p:sp>
      <p:sp>
        <p:nvSpPr>
          <p:cNvPr id="72" name="내용 개체 틀 18">
            <a:extLst>
              <a:ext uri="{FF2B5EF4-FFF2-40B4-BE49-F238E27FC236}">
                <a16:creationId xmlns:a16="http://schemas.microsoft.com/office/drawing/2014/main" id="{C8DE5C7A-8B45-5D9D-EA16-412D914AC29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20312" y="3451896"/>
            <a:ext cx="2620800" cy="20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lnSpc>
                <a:spcPts val="1679"/>
              </a:lnSpc>
              <a:spcBef>
                <a:spcPts val="0"/>
              </a:spcBef>
              <a:buFontTx/>
              <a:buNone/>
              <a:defRPr lang="ko-KR" altLang="en-US" sz="1100" b="0" smtClean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+mj-cs"/>
              </a:defRPr>
            </a:lvl1pPr>
            <a:lvl2pPr marL="185738" indent="0">
              <a:buFontTx/>
              <a:buNone/>
              <a:defRPr lang="ko-KR" altLang="en-US" sz="2000" b="1" smtClean="0">
                <a:latin typeface="맑은 고딕" pitchFamily="50" charset="-127"/>
                <a:ea typeface="맑은 고딕" pitchFamily="50" charset="-127"/>
              </a:defRPr>
            </a:lvl2pPr>
            <a:lvl3pPr marL="452437" indent="0">
              <a:buFontTx/>
              <a:buNone/>
              <a:defRPr lang="ko-KR" altLang="en-US" sz="2000" b="1" smtClean="0">
                <a:latin typeface="맑은 고딕" pitchFamily="50" charset="-127"/>
                <a:ea typeface="맑은 고딕" pitchFamily="50" charset="-127"/>
              </a:defRPr>
            </a:lvl3pPr>
            <a:lvl4pPr marL="623887" indent="0">
              <a:buFontTx/>
              <a:buNone/>
              <a:defRPr lang="ko-KR" altLang="en-US" sz="2000" b="1" smtClean="0">
                <a:latin typeface="맑은 고딕" pitchFamily="50" charset="-127"/>
                <a:ea typeface="맑은 고딕" pitchFamily="50" charset="-127"/>
              </a:defRPr>
            </a:lvl4pPr>
            <a:lvl5pPr marL="811212" indent="0">
              <a:buFontTx/>
              <a:buNone/>
              <a:defRPr lang="ko-KR" altLang="en-US" sz="2000" b="1">
                <a:latin typeface="맑은 고딕" pitchFamily="50" charset="-127"/>
                <a:ea typeface="맑은 고딕" pitchFamily="50" charset="-127"/>
              </a:defRPr>
            </a:lvl5pPr>
          </a:lstStyle>
          <a:p>
            <a:pPr marL="0" marR="0" lvl="0" indent="0" algn="l" defTabSz="410291" rtl="0" eaLnBrk="0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dirty="0"/>
              <a:t>마스터 텍스트 스타일 편집</a:t>
            </a:r>
          </a:p>
        </p:txBody>
      </p:sp>
      <p:sp>
        <p:nvSpPr>
          <p:cNvPr id="73" name="내용 개체 틀 18">
            <a:extLst>
              <a:ext uri="{FF2B5EF4-FFF2-40B4-BE49-F238E27FC236}">
                <a16:creationId xmlns:a16="http://schemas.microsoft.com/office/drawing/2014/main" id="{BEB3C86A-81EA-8915-478D-65A4F13C91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320312" y="3781239"/>
            <a:ext cx="2620800" cy="20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lnSpc>
                <a:spcPts val="1679"/>
              </a:lnSpc>
              <a:spcBef>
                <a:spcPts val="0"/>
              </a:spcBef>
              <a:buFontTx/>
              <a:buNone/>
              <a:defRPr lang="ko-KR" altLang="en-US" sz="1100" b="0" smtClean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+mj-cs"/>
              </a:defRPr>
            </a:lvl1pPr>
            <a:lvl2pPr marL="185738" indent="0">
              <a:buFontTx/>
              <a:buNone/>
              <a:defRPr lang="ko-KR" altLang="en-US" sz="2000" b="1" smtClean="0">
                <a:latin typeface="맑은 고딕" pitchFamily="50" charset="-127"/>
                <a:ea typeface="맑은 고딕" pitchFamily="50" charset="-127"/>
              </a:defRPr>
            </a:lvl2pPr>
            <a:lvl3pPr marL="452437" indent="0">
              <a:buFontTx/>
              <a:buNone/>
              <a:defRPr lang="ko-KR" altLang="en-US" sz="2000" b="1" smtClean="0">
                <a:latin typeface="맑은 고딕" pitchFamily="50" charset="-127"/>
                <a:ea typeface="맑은 고딕" pitchFamily="50" charset="-127"/>
              </a:defRPr>
            </a:lvl3pPr>
            <a:lvl4pPr marL="623887" indent="0">
              <a:buFontTx/>
              <a:buNone/>
              <a:defRPr lang="ko-KR" altLang="en-US" sz="2000" b="1" smtClean="0">
                <a:latin typeface="맑은 고딕" pitchFamily="50" charset="-127"/>
                <a:ea typeface="맑은 고딕" pitchFamily="50" charset="-127"/>
              </a:defRPr>
            </a:lvl4pPr>
            <a:lvl5pPr marL="811212" indent="0">
              <a:buFontTx/>
              <a:buNone/>
              <a:defRPr lang="ko-KR" altLang="en-US" sz="2000" b="1">
                <a:latin typeface="맑은 고딕" pitchFamily="50" charset="-127"/>
                <a:ea typeface="맑은 고딕" pitchFamily="50" charset="-127"/>
              </a:defRPr>
            </a:lvl5pPr>
          </a:lstStyle>
          <a:p>
            <a:pPr marL="0" marR="0" lvl="0" indent="0" algn="l" defTabSz="410291" rtl="0" eaLnBrk="0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dirty="0"/>
              <a:t>마스터 텍스트 스타일 편집</a:t>
            </a:r>
          </a:p>
        </p:txBody>
      </p:sp>
      <p:sp>
        <p:nvSpPr>
          <p:cNvPr id="74" name="내용 개체 틀 18">
            <a:extLst>
              <a:ext uri="{FF2B5EF4-FFF2-40B4-BE49-F238E27FC236}">
                <a16:creationId xmlns:a16="http://schemas.microsoft.com/office/drawing/2014/main" id="{B96A382F-636C-668C-EAD2-1056ED1B2E0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320312" y="4110581"/>
            <a:ext cx="2620800" cy="20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lnSpc>
                <a:spcPts val="1679"/>
              </a:lnSpc>
              <a:spcBef>
                <a:spcPts val="0"/>
              </a:spcBef>
              <a:buFontTx/>
              <a:buNone/>
              <a:defRPr lang="ko-KR" altLang="en-US" sz="1100" b="0" smtClean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+mj-cs"/>
              </a:defRPr>
            </a:lvl1pPr>
            <a:lvl2pPr marL="185738" indent="0">
              <a:buFontTx/>
              <a:buNone/>
              <a:defRPr lang="ko-KR" altLang="en-US" sz="2000" b="1" smtClean="0">
                <a:latin typeface="맑은 고딕" pitchFamily="50" charset="-127"/>
                <a:ea typeface="맑은 고딕" pitchFamily="50" charset="-127"/>
              </a:defRPr>
            </a:lvl2pPr>
            <a:lvl3pPr marL="452437" indent="0">
              <a:buFontTx/>
              <a:buNone/>
              <a:defRPr lang="ko-KR" altLang="en-US" sz="2000" b="1" smtClean="0">
                <a:latin typeface="맑은 고딕" pitchFamily="50" charset="-127"/>
                <a:ea typeface="맑은 고딕" pitchFamily="50" charset="-127"/>
              </a:defRPr>
            </a:lvl3pPr>
            <a:lvl4pPr marL="623887" indent="0">
              <a:buFontTx/>
              <a:buNone/>
              <a:defRPr lang="ko-KR" altLang="en-US" sz="2000" b="1" smtClean="0">
                <a:latin typeface="맑은 고딕" pitchFamily="50" charset="-127"/>
                <a:ea typeface="맑은 고딕" pitchFamily="50" charset="-127"/>
              </a:defRPr>
            </a:lvl4pPr>
            <a:lvl5pPr marL="811212" indent="0">
              <a:buFontTx/>
              <a:buNone/>
              <a:defRPr lang="ko-KR" altLang="en-US" sz="2000" b="1">
                <a:latin typeface="맑은 고딕" pitchFamily="50" charset="-127"/>
                <a:ea typeface="맑은 고딕" pitchFamily="50" charset="-127"/>
              </a:defRPr>
            </a:lvl5pPr>
          </a:lstStyle>
          <a:p>
            <a:pPr marL="0" marR="0" lvl="0" indent="0" algn="l" defTabSz="410291" rtl="0" eaLnBrk="0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50" dirty="0"/>
              <a:t>마스터 텍스트 스타일 편집</a:t>
            </a:r>
          </a:p>
        </p:txBody>
      </p:sp>
      <p:cxnSp>
        <p:nvCxnSpPr>
          <p:cNvPr id="83" name="직선 연결선 82">
            <a:extLst>
              <a:ext uri="{FF2B5EF4-FFF2-40B4-BE49-F238E27FC236}">
                <a16:creationId xmlns:a16="http://schemas.microsoft.com/office/drawing/2014/main" id="{3BA09A92-BA64-2890-5994-2C20855C8AB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24075" y="592688"/>
            <a:ext cx="7920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4E4F5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8" name="TextBox 87">
            <a:extLst>
              <a:ext uri="{FF2B5EF4-FFF2-40B4-BE49-F238E27FC236}">
                <a16:creationId xmlns:a16="http://schemas.microsoft.com/office/drawing/2014/main" id="{5498C254-093F-3373-751D-676C6968C749}"/>
              </a:ext>
            </a:extLst>
          </p:cNvPr>
          <p:cNvSpPr txBox="1"/>
          <p:nvPr userDrawn="1"/>
        </p:nvSpPr>
        <p:spPr>
          <a:xfrm>
            <a:off x="6626548" y="6064608"/>
            <a:ext cx="2728879" cy="42151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>
              <a:spcBef>
                <a:spcPts val="100"/>
              </a:spcBef>
            </a:pPr>
            <a:r>
              <a:rPr lang="ko-KR" altLang="en-US" sz="700" dirty="0">
                <a:ln>
                  <a:solidFill>
                    <a:srgbClr val="0095D9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서울시 구로구 디지털로 </a:t>
            </a:r>
            <a:r>
              <a:rPr lang="en-US" altLang="ko-KR" sz="700" dirty="0">
                <a:ln>
                  <a:solidFill>
                    <a:srgbClr val="0095D9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32</a:t>
            </a:r>
            <a:r>
              <a:rPr lang="ko-KR" altLang="en-US" sz="700" dirty="0">
                <a:ln>
                  <a:solidFill>
                    <a:srgbClr val="0095D9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길 </a:t>
            </a:r>
            <a:r>
              <a:rPr lang="en-US" altLang="ko-KR" sz="700" dirty="0">
                <a:ln>
                  <a:solidFill>
                    <a:srgbClr val="0095D9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30, 1201</a:t>
            </a:r>
            <a:r>
              <a:rPr lang="ko-KR" altLang="en-US" sz="700" dirty="0">
                <a:ln>
                  <a:solidFill>
                    <a:srgbClr val="0095D9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호</a:t>
            </a:r>
            <a:r>
              <a:rPr lang="en-US" altLang="ko-KR" sz="700" dirty="0">
                <a:ln>
                  <a:solidFill>
                    <a:srgbClr val="0095D9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(</a:t>
            </a:r>
            <a:r>
              <a:rPr lang="ko-KR" altLang="en-US" sz="700" dirty="0" err="1">
                <a:ln>
                  <a:solidFill>
                    <a:srgbClr val="0095D9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코오롱디지털빌란트</a:t>
            </a:r>
            <a:r>
              <a:rPr lang="en-US" altLang="ko-KR" sz="700" dirty="0">
                <a:ln>
                  <a:solidFill>
                    <a:srgbClr val="0095D9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1</a:t>
            </a:r>
            <a:r>
              <a:rPr lang="ko-KR" altLang="en-US" sz="700" dirty="0">
                <a:ln>
                  <a:solidFill>
                    <a:srgbClr val="0095D9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차</a:t>
            </a:r>
            <a:r>
              <a:rPr lang="en-US" altLang="ko-KR" sz="700" dirty="0">
                <a:ln>
                  <a:solidFill>
                    <a:srgbClr val="0095D9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)</a:t>
            </a:r>
          </a:p>
          <a:p>
            <a:pPr>
              <a:spcBef>
                <a:spcPts val="100"/>
              </a:spcBef>
            </a:pPr>
            <a:r>
              <a:rPr lang="en-US" altLang="ko-KR" sz="700" dirty="0">
                <a:ln>
                  <a:solidFill>
                    <a:srgbClr val="0095D9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Tel. 82-2-2103-5567    Fax. 82-2-2103-5567</a:t>
            </a:r>
          </a:p>
          <a:p>
            <a:pPr>
              <a:spcBef>
                <a:spcPts val="100"/>
              </a:spcBef>
            </a:pPr>
            <a:r>
              <a:rPr lang="en-US" altLang="ko-KR" sz="700" dirty="0">
                <a:ln>
                  <a:solidFill>
                    <a:srgbClr val="0095D9">
                      <a:alpha val="0"/>
                    </a:srgbClr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http://www.vanguardlab.net</a:t>
            </a:r>
          </a:p>
        </p:txBody>
      </p:sp>
      <p:pic>
        <p:nvPicPr>
          <p:cNvPr id="89" name="그림 88">
            <a:extLst>
              <a:ext uri="{FF2B5EF4-FFF2-40B4-BE49-F238E27FC236}">
                <a16:creationId xmlns:a16="http://schemas.microsoft.com/office/drawing/2014/main" id="{767895E2-480D-A173-CF94-9435163A1B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6547" y="5738137"/>
            <a:ext cx="1749357" cy="319746"/>
          </a:xfrm>
          <a:prstGeom prst="rect">
            <a:avLst/>
          </a:prstGeom>
        </p:spPr>
      </p:pic>
      <p:sp>
        <p:nvSpPr>
          <p:cNvPr id="90" name="순서도: 연결자 89">
            <a:extLst>
              <a:ext uri="{FF2B5EF4-FFF2-40B4-BE49-F238E27FC236}">
                <a16:creationId xmlns:a16="http://schemas.microsoft.com/office/drawing/2014/main" id="{9DE32400-E677-F7F4-7C71-2698842EAD7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637216" y="3111221"/>
            <a:ext cx="1260000" cy="1260000"/>
          </a:xfrm>
          <a:prstGeom prst="flowChartConnector">
            <a:avLst/>
          </a:prstGeom>
          <a:solidFill>
            <a:srgbClr val="E3E4E0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rtlCol="0" anchor="ctr"/>
          <a:lstStyle/>
          <a:p>
            <a:pPr algn="ctr" latinLnBrk="0">
              <a:buClr>
                <a:schemeClr val="bg2"/>
              </a:buClr>
            </a:pPr>
            <a:endParaRPr kumimoji="1" lang="ko-KR" altLang="en-US" sz="1050" b="1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내용 개체 틀 18">
            <a:extLst>
              <a:ext uri="{FF2B5EF4-FFF2-40B4-BE49-F238E27FC236}">
                <a16:creationId xmlns:a16="http://schemas.microsoft.com/office/drawing/2014/main" id="{AD237F4A-6BA3-95D4-2D9D-1D479250CAC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27276" y="3201281"/>
            <a:ext cx="1080000" cy="1080000"/>
          </a:xfrm>
          <a:prstGeom prst="flowChartConnector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lnSpc>
                <a:spcPct val="150000"/>
              </a:lnSpc>
              <a:buFontTx/>
              <a:buNone/>
              <a:defRPr lang="ko-KR" altLang="en-US" sz="1400" b="0" smtClean="0">
                <a:cs typeface="+mj-cs"/>
              </a:defRPr>
            </a:lvl1pPr>
            <a:lvl2pPr marL="185738" indent="0">
              <a:buFontTx/>
              <a:buNone/>
              <a:defRPr lang="ko-KR" altLang="en-US" sz="2000" b="1" smtClean="0">
                <a:latin typeface="맑은 고딕" pitchFamily="50" charset="-127"/>
                <a:ea typeface="맑은 고딕" pitchFamily="50" charset="-127"/>
              </a:defRPr>
            </a:lvl2pPr>
            <a:lvl3pPr marL="452437" indent="0">
              <a:buFontTx/>
              <a:buNone/>
              <a:defRPr lang="ko-KR" altLang="en-US" sz="2000" b="1" smtClean="0">
                <a:latin typeface="맑은 고딕" pitchFamily="50" charset="-127"/>
                <a:ea typeface="맑은 고딕" pitchFamily="50" charset="-127"/>
              </a:defRPr>
            </a:lvl3pPr>
            <a:lvl4pPr marL="623887" indent="0">
              <a:buFontTx/>
              <a:buNone/>
              <a:defRPr lang="ko-KR" altLang="en-US" sz="2000" b="1" smtClean="0">
                <a:latin typeface="맑은 고딕" pitchFamily="50" charset="-127"/>
                <a:ea typeface="맑은 고딕" pitchFamily="50" charset="-127"/>
              </a:defRPr>
            </a:lvl4pPr>
            <a:lvl5pPr marL="811212" indent="0">
              <a:buFontTx/>
              <a:buNone/>
              <a:defRPr lang="ko-KR" altLang="en-US" sz="2000" b="1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>
              <a:spcBef>
                <a:spcPct val="0"/>
              </a:spcBef>
            </a:pPr>
            <a:r>
              <a:rPr lang="ko-KR" altLang="en-US"/>
              <a:t>이미지</a:t>
            </a:r>
          </a:p>
        </p:txBody>
      </p:sp>
      <p:grpSp>
        <p:nvGrpSpPr>
          <p:cNvPr id="92" name="그룹 91">
            <a:extLst>
              <a:ext uri="{FF2B5EF4-FFF2-40B4-BE49-F238E27FC236}">
                <a16:creationId xmlns:a16="http://schemas.microsoft.com/office/drawing/2014/main" id="{D4FF9C55-2F1E-74CD-6635-AB7B3FD59D56}"/>
              </a:ext>
            </a:extLst>
          </p:cNvPr>
          <p:cNvGrpSpPr/>
          <p:nvPr userDrawn="1"/>
        </p:nvGrpSpPr>
        <p:grpSpPr>
          <a:xfrm>
            <a:off x="-732055" y="202453"/>
            <a:ext cx="651308" cy="6451719"/>
            <a:chOff x="-732055" y="202451"/>
            <a:chExt cx="651308" cy="6451719"/>
          </a:xfrm>
        </p:grpSpPr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462E8478-FB61-7C12-A686-07862E0E266E}"/>
                </a:ext>
              </a:extLst>
            </p:cNvPr>
            <p:cNvSpPr txBox="1"/>
            <p:nvPr userDrawn="1"/>
          </p:nvSpPr>
          <p:spPr>
            <a:xfrm rot="5400000">
              <a:off x="-869914" y="880479"/>
              <a:ext cx="1451320" cy="1270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dist="12700" dir="5400000" algn="t" rotWithShape="0">
                <a:schemeClr val="tx2"/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r>
                <a:rPr lang="en-GB" sz="700" b="0">
                  <a:solidFill>
                    <a:schemeClr val="tx2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RIMARY </a:t>
              </a:r>
              <a:r>
                <a:rPr lang="ko-KR" altLang="en-US" sz="700" b="0" err="1">
                  <a:solidFill>
                    <a:schemeClr val="tx2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700" b="0">
                  <a:solidFill>
                    <a:schemeClr val="tx2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COLOURS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D5C78D52-D22F-F998-F24F-99259DCC3EE4}"/>
                </a:ext>
              </a:extLst>
            </p:cNvPr>
            <p:cNvSpPr txBox="1"/>
            <p:nvPr userDrawn="1"/>
          </p:nvSpPr>
          <p:spPr>
            <a:xfrm rot="5400000">
              <a:off x="-1119140" y="2625061"/>
              <a:ext cx="1949772" cy="1270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dist="12700" dir="5400000" algn="t" rotWithShape="0">
                <a:srgbClr val="483698"/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ECONDARY </a:t>
              </a:r>
              <a:r>
                <a:rPr lang="ko-KR" altLang="en-US" sz="700" b="0" err="1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COLOURS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AC7F971E-6BDA-539D-B695-42960B832102}"/>
                </a:ext>
              </a:extLst>
            </p:cNvPr>
            <p:cNvSpPr txBox="1"/>
            <p:nvPr userDrawn="1"/>
          </p:nvSpPr>
          <p:spPr>
            <a:xfrm rot="5400000">
              <a:off x="-1617593" y="5117323"/>
              <a:ext cx="2946677" cy="1270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dist="12700" dir="5400000" algn="t" rotWithShape="0">
                <a:srgbClr val="43B02A"/>
              </a:outerShdw>
            </a:effectLst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TERTIARY </a:t>
              </a:r>
              <a:r>
                <a:rPr lang="ko-KR" altLang="en-US" sz="700" b="0" err="1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700" b="0">
                  <a:solidFill>
                    <a:schemeClr val="bg1">
                      <a:lumMod val="6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COLOURS</a:t>
              </a:r>
            </a:p>
          </p:txBody>
        </p:sp>
        <p:sp>
          <p:nvSpPr>
            <p:cNvPr id="97" name="Rectangle 12">
              <a:extLst>
                <a:ext uri="{FF2B5EF4-FFF2-40B4-BE49-F238E27FC236}">
                  <a16:creationId xmlns:a16="http://schemas.microsoft.com/office/drawing/2014/main" id="{70444D35-4601-B893-CC85-66D6772A4EAF}"/>
                </a:ext>
              </a:extLst>
            </p:cNvPr>
            <p:cNvSpPr/>
            <p:nvPr userDrawn="1"/>
          </p:nvSpPr>
          <p:spPr>
            <a:xfrm rot="5400000">
              <a:off x="-612940" y="318519"/>
              <a:ext cx="454415" cy="254029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300" err="1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뱅가드랩</a:t>
              </a:r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Blu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51 / 141</a:t>
              </a:r>
            </a:p>
          </p:txBody>
        </p:sp>
        <p:sp>
          <p:nvSpPr>
            <p:cNvPr id="105" name="Rectangle 13">
              <a:extLst>
                <a:ext uri="{FF2B5EF4-FFF2-40B4-BE49-F238E27FC236}">
                  <a16:creationId xmlns:a16="http://schemas.microsoft.com/office/drawing/2014/main" id="{1F960598-7E22-AFF8-2288-A2DE1764A459}"/>
                </a:ext>
              </a:extLst>
            </p:cNvPr>
            <p:cNvSpPr/>
            <p:nvPr userDrawn="1"/>
          </p:nvSpPr>
          <p:spPr>
            <a:xfrm rot="5400000">
              <a:off x="-612940" y="816972"/>
              <a:ext cx="454415" cy="254029"/>
            </a:xfrm>
            <a:prstGeom prst="rect">
              <a:avLst/>
            </a:prstGeom>
            <a:solidFill>
              <a:srgbClr val="005E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edium Blu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94 / 184</a:t>
              </a:r>
            </a:p>
          </p:txBody>
        </p:sp>
        <p:sp>
          <p:nvSpPr>
            <p:cNvPr id="106" name="Rectangle 14">
              <a:extLst>
                <a:ext uri="{FF2B5EF4-FFF2-40B4-BE49-F238E27FC236}">
                  <a16:creationId xmlns:a16="http://schemas.microsoft.com/office/drawing/2014/main" id="{8A2303EA-D557-5023-2D73-03B9063FDD1D}"/>
                </a:ext>
              </a:extLst>
            </p:cNvPr>
            <p:cNvSpPr/>
            <p:nvPr userDrawn="1"/>
          </p:nvSpPr>
          <p:spPr>
            <a:xfrm rot="5400000">
              <a:off x="-612940" y="1315424"/>
              <a:ext cx="454415" cy="25402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ght Blu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145 / 218</a:t>
              </a:r>
            </a:p>
          </p:txBody>
        </p:sp>
        <p:sp>
          <p:nvSpPr>
            <p:cNvPr id="107" name="Rectangle 15">
              <a:extLst>
                <a:ext uri="{FF2B5EF4-FFF2-40B4-BE49-F238E27FC236}">
                  <a16:creationId xmlns:a16="http://schemas.microsoft.com/office/drawing/2014/main" id="{BC5AC15C-6BF7-696D-A10A-3D1ACA02C915}"/>
                </a:ext>
              </a:extLst>
            </p:cNvPr>
            <p:cNvSpPr/>
            <p:nvPr userDrawn="1"/>
          </p:nvSpPr>
          <p:spPr>
            <a:xfrm rot="5400000">
              <a:off x="-612940" y="1813877"/>
              <a:ext cx="454415" cy="254029"/>
            </a:xfrm>
            <a:prstGeom prst="rect">
              <a:avLst/>
            </a:prstGeom>
            <a:solidFill>
              <a:srgbClr val="4836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Violet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72 / 54 / 152</a:t>
              </a:r>
            </a:p>
          </p:txBody>
        </p:sp>
        <p:sp>
          <p:nvSpPr>
            <p:cNvPr id="108" name="Rectangle 16">
              <a:extLst>
                <a:ext uri="{FF2B5EF4-FFF2-40B4-BE49-F238E27FC236}">
                  <a16:creationId xmlns:a16="http://schemas.microsoft.com/office/drawing/2014/main" id="{A91A2447-1DD1-D991-4FA5-5CF99B5C7BF4}"/>
                </a:ext>
              </a:extLst>
            </p:cNvPr>
            <p:cNvSpPr/>
            <p:nvPr userDrawn="1"/>
          </p:nvSpPr>
          <p:spPr>
            <a:xfrm rot="5400000">
              <a:off x="-612940" y="2312329"/>
              <a:ext cx="454415" cy="254029"/>
            </a:xfrm>
            <a:prstGeom prst="rect">
              <a:avLst/>
            </a:prstGeom>
            <a:solidFill>
              <a:srgbClr val="470A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urpl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71 / 10 / 104</a:t>
              </a:r>
            </a:p>
          </p:txBody>
        </p:sp>
        <p:sp>
          <p:nvSpPr>
            <p:cNvPr id="109" name="Rectangle 17">
              <a:extLst>
                <a:ext uri="{FF2B5EF4-FFF2-40B4-BE49-F238E27FC236}">
                  <a16:creationId xmlns:a16="http://schemas.microsoft.com/office/drawing/2014/main" id="{82A78359-D1E8-4CF2-1A0A-9ADA099CC831}"/>
                </a:ext>
              </a:extLst>
            </p:cNvPr>
            <p:cNvSpPr/>
            <p:nvPr userDrawn="1"/>
          </p:nvSpPr>
          <p:spPr>
            <a:xfrm rot="5400000">
              <a:off x="-612940" y="2810781"/>
              <a:ext cx="454415" cy="254029"/>
            </a:xfrm>
            <a:prstGeom prst="rect">
              <a:avLst/>
            </a:prstGeom>
            <a:solidFill>
              <a:srgbClr val="6D20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ght Purpl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09 / 32 / 119</a:t>
              </a:r>
            </a:p>
          </p:txBody>
        </p:sp>
        <p:sp>
          <p:nvSpPr>
            <p:cNvPr id="110" name="Rectangle 18">
              <a:extLst>
                <a:ext uri="{FF2B5EF4-FFF2-40B4-BE49-F238E27FC236}">
                  <a16:creationId xmlns:a16="http://schemas.microsoft.com/office/drawing/2014/main" id="{C4C8C689-FDB3-4BF4-211B-BAA7F64EE67B}"/>
                </a:ext>
              </a:extLst>
            </p:cNvPr>
            <p:cNvSpPr/>
            <p:nvPr userDrawn="1"/>
          </p:nvSpPr>
          <p:spPr>
            <a:xfrm rot="5400000">
              <a:off x="-612940" y="3309234"/>
              <a:ext cx="454415" cy="254029"/>
            </a:xfrm>
            <a:prstGeom prst="rect">
              <a:avLst/>
            </a:prstGeom>
            <a:solidFill>
              <a:srgbClr val="00A3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Green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163 / 161</a:t>
              </a:r>
            </a:p>
          </p:txBody>
        </p:sp>
        <p:sp>
          <p:nvSpPr>
            <p:cNvPr id="164" name="Rectangle 19">
              <a:extLst>
                <a:ext uri="{FF2B5EF4-FFF2-40B4-BE49-F238E27FC236}">
                  <a16:creationId xmlns:a16="http://schemas.microsoft.com/office/drawing/2014/main" id="{0FFBCA04-71B3-AA80-B00E-F00BEB6B8334}"/>
                </a:ext>
              </a:extLst>
            </p:cNvPr>
            <p:cNvSpPr/>
            <p:nvPr userDrawn="1"/>
          </p:nvSpPr>
          <p:spPr>
            <a:xfrm rot="5400000">
              <a:off x="-612940" y="3807686"/>
              <a:ext cx="454415" cy="254029"/>
            </a:xfrm>
            <a:prstGeom prst="rect">
              <a:avLst/>
            </a:prstGeom>
            <a:solidFill>
              <a:srgbClr val="009A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rk Green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 / 154 / 68</a:t>
              </a:r>
            </a:p>
          </p:txBody>
        </p:sp>
        <p:sp>
          <p:nvSpPr>
            <p:cNvPr id="165" name="Rectangle 20">
              <a:extLst>
                <a:ext uri="{FF2B5EF4-FFF2-40B4-BE49-F238E27FC236}">
                  <a16:creationId xmlns:a16="http://schemas.microsoft.com/office/drawing/2014/main" id="{0E32EAD8-5EA4-895A-8B2E-5360668409E5}"/>
                </a:ext>
              </a:extLst>
            </p:cNvPr>
            <p:cNvSpPr/>
            <p:nvPr userDrawn="1"/>
          </p:nvSpPr>
          <p:spPr>
            <a:xfrm rot="5400000">
              <a:off x="-612940" y="4306139"/>
              <a:ext cx="454415" cy="254029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ight Green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67 / 176 / 42</a:t>
              </a:r>
            </a:p>
          </p:txBody>
        </p:sp>
        <p:sp>
          <p:nvSpPr>
            <p:cNvPr id="166" name="Rectangle 21">
              <a:extLst>
                <a:ext uri="{FF2B5EF4-FFF2-40B4-BE49-F238E27FC236}">
                  <a16:creationId xmlns:a16="http://schemas.microsoft.com/office/drawing/2014/main" id="{D10E9B36-2226-86A7-170A-4D79B5112F14}"/>
                </a:ext>
              </a:extLst>
            </p:cNvPr>
            <p:cNvSpPr/>
            <p:nvPr userDrawn="1"/>
          </p:nvSpPr>
          <p:spPr>
            <a:xfrm rot="5400000">
              <a:off x="-612940" y="4804591"/>
              <a:ext cx="454415" cy="254029"/>
            </a:xfrm>
            <a:prstGeom prst="rect">
              <a:avLst/>
            </a:prstGeom>
            <a:solidFill>
              <a:srgbClr val="EAA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Yellow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34 / 170 / 0</a:t>
              </a:r>
            </a:p>
          </p:txBody>
        </p:sp>
        <p:sp>
          <p:nvSpPr>
            <p:cNvPr id="167" name="Rectangle 22">
              <a:extLst>
                <a:ext uri="{FF2B5EF4-FFF2-40B4-BE49-F238E27FC236}">
                  <a16:creationId xmlns:a16="http://schemas.microsoft.com/office/drawing/2014/main" id="{9EC5A32C-FD2A-BEAF-6C2E-9265381EA8AE}"/>
                </a:ext>
              </a:extLst>
            </p:cNvPr>
            <p:cNvSpPr/>
            <p:nvPr userDrawn="1"/>
          </p:nvSpPr>
          <p:spPr>
            <a:xfrm rot="5400000">
              <a:off x="-612940" y="5303043"/>
              <a:ext cx="454415" cy="254029"/>
            </a:xfrm>
            <a:prstGeom prst="rect">
              <a:avLst/>
            </a:prstGeom>
            <a:solidFill>
              <a:srgbClr val="F68D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Orange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46 / 141 / 46</a:t>
              </a:r>
            </a:p>
          </p:txBody>
        </p:sp>
        <p:sp>
          <p:nvSpPr>
            <p:cNvPr id="168" name="Rectangle 23">
              <a:extLst>
                <a:ext uri="{FF2B5EF4-FFF2-40B4-BE49-F238E27FC236}">
                  <a16:creationId xmlns:a16="http://schemas.microsoft.com/office/drawing/2014/main" id="{13EE59CA-BC1E-A97B-6EA5-BEC3E81F1D76}"/>
                </a:ext>
              </a:extLst>
            </p:cNvPr>
            <p:cNvSpPr/>
            <p:nvPr userDrawn="1"/>
          </p:nvSpPr>
          <p:spPr>
            <a:xfrm rot="5400000">
              <a:off x="-612940" y="5801496"/>
              <a:ext cx="454415" cy="254029"/>
            </a:xfrm>
            <a:prstGeom prst="rect">
              <a:avLst/>
            </a:prstGeom>
            <a:solidFill>
              <a:srgbClr val="BC2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ed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88 / 32 / 75</a:t>
              </a:r>
            </a:p>
          </p:txBody>
        </p:sp>
        <p:sp>
          <p:nvSpPr>
            <p:cNvPr id="169" name="Rectangle 25">
              <a:extLst>
                <a:ext uri="{FF2B5EF4-FFF2-40B4-BE49-F238E27FC236}">
                  <a16:creationId xmlns:a16="http://schemas.microsoft.com/office/drawing/2014/main" id="{92439356-CF0F-A8A1-6D01-B6756A30E957}"/>
                </a:ext>
              </a:extLst>
            </p:cNvPr>
            <p:cNvSpPr/>
            <p:nvPr userDrawn="1"/>
          </p:nvSpPr>
          <p:spPr>
            <a:xfrm rot="5400000">
              <a:off x="-612940" y="6299948"/>
              <a:ext cx="454415" cy="254029"/>
            </a:xfrm>
            <a:prstGeom prst="rect">
              <a:avLst/>
            </a:prstGeom>
            <a:solidFill>
              <a:srgbClr val="C600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ink</a:t>
              </a:r>
            </a:p>
            <a:p>
              <a:pPr algn="ctr"/>
              <a:r>
                <a:rPr lang="en-GB" sz="30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98 / 0 / 126</a:t>
              </a:r>
            </a:p>
          </p:txBody>
        </p:sp>
        <p:sp>
          <p:nvSpPr>
            <p:cNvPr id="170" name="Rectangle 5">
              <a:extLst>
                <a:ext uri="{FF2B5EF4-FFF2-40B4-BE49-F238E27FC236}">
                  <a16:creationId xmlns:a16="http://schemas.microsoft.com/office/drawing/2014/main" id="{B14EB739-46DA-4CB2-0EAA-A114DEC446B8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75526"/>
              <a:ext cx="143082" cy="142065"/>
            </a:xfrm>
            <a:prstGeom prst="rect">
              <a:avLst/>
            </a:prstGeom>
            <a:solidFill>
              <a:srgbClr val="4066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1" name="Rectangle 36">
              <a:extLst>
                <a:ext uri="{FF2B5EF4-FFF2-40B4-BE49-F238E27FC236}">
                  <a16:creationId xmlns:a16="http://schemas.microsoft.com/office/drawing/2014/main" id="{94A426FE-CF29-83EB-F3FF-33AB39029F4C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548093"/>
              <a:ext cx="143082" cy="142065"/>
            </a:xfrm>
            <a:prstGeom prst="rect">
              <a:avLst/>
            </a:prstGeom>
            <a:solidFill>
              <a:srgbClr val="8099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2" name="Rectangle 31">
              <a:extLst>
                <a:ext uri="{FF2B5EF4-FFF2-40B4-BE49-F238E27FC236}">
                  <a16:creationId xmlns:a16="http://schemas.microsoft.com/office/drawing/2014/main" id="{5CECBC82-E021-9735-56E6-A3D385EA64A6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720659"/>
              <a:ext cx="143082" cy="142065"/>
            </a:xfrm>
            <a:prstGeom prst="rect">
              <a:avLst/>
            </a:prstGeom>
            <a:solidFill>
              <a:srgbClr val="BFCC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3" name="Rectangle 6">
              <a:extLst>
                <a:ext uri="{FF2B5EF4-FFF2-40B4-BE49-F238E27FC236}">
                  <a16:creationId xmlns:a16="http://schemas.microsoft.com/office/drawing/2014/main" id="{F9F7CE18-F14C-E894-AD8F-D0DB58D0FE25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446322"/>
              <a:ext cx="143082" cy="142065"/>
            </a:xfrm>
            <a:prstGeom prst="rect">
              <a:avLst/>
            </a:prstGeom>
            <a:solidFill>
              <a:srgbClr val="7668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4" name="Rectangle 19">
              <a:extLst>
                <a:ext uri="{FF2B5EF4-FFF2-40B4-BE49-F238E27FC236}">
                  <a16:creationId xmlns:a16="http://schemas.microsoft.com/office/drawing/2014/main" id="{E001A327-9474-9834-B918-1AE7F87965EB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618888"/>
              <a:ext cx="143082" cy="142065"/>
            </a:xfrm>
            <a:prstGeom prst="rect">
              <a:avLst/>
            </a:prstGeom>
            <a:solidFill>
              <a:srgbClr val="A39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B360DE01-3680-3DD5-43C4-3CFA004EF8AE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791454"/>
              <a:ext cx="143082" cy="142065"/>
            </a:xfrm>
            <a:prstGeom prst="rect">
              <a:avLst/>
            </a:prstGeom>
            <a:solidFill>
              <a:srgbClr val="D1CD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6" name="Rectangle 7">
              <a:extLst>
                <a:ext uri="{FF2B5EF4-FFF2-40B4-BE49-F238E27FC236}">
                  <a16:creationId xmlns:a16="http://schemas.microsoft.com/office/drawing/2014/main" id="{86C23E77-3ACB-7143-C859-1B84A0DB694D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898555"/>
              <a:ext cx="143082" cy="142065"/>
            </a:xfrm>
            <a:prstGeom prst="rect">
              <a:avLst/>
            </a:prstGeom>
            <a:solidFill>
              <a:srgbClr val="40BA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7" name="Rectangle 20">
              <a:extLst>
                <a:ext uri="{FF2B5EF4-FFF2-40B4-BE49-F238E27FC236}">
                  <a16:creationId xmlns:a16="http://schemas.microsoft.com/office/drawing/2014/main" id="{631E9155-C3DC-6826-EF43-0D7D3AEE37C7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071121"/>
              <a:ext cx="143082" cy="142065"/>
            </a:xfrm>
            <a:prstGeom prst="rect">
              <a:avLst/>
            </a:prstGeom>
            <a:solidFill>
              <a:srgbClr val="80D1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8" name="Rectangle 33">
              <a:extLst>
                <a:ext uri="{FF2B5EF4-FFF2-40B4-BE49-F238E27FC236}">
                  <a16:creationId xmlns:a16="http://schemas.microsoft.com/office/drawing/2014/main" id="{0C4E104B-2397-7FF6-FAB2-2E5A9434A63F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243687"/>
              <a:ext cx="143082" cy="142065"/>
            </a:xfrm>
            <a:prstGeom prst="rect">
              <a:avLst/>
            </a:prstGeom>
            <a:solidFill>
              <a:srgbClr val="BF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79" name="Rectangle 8">
              <a:extLst>
                <a:ext uri="{FF2B5EF4-FFF2-40B4-BE49-F238E27FC236}">
                  <a16:creationId xmlns:a16="http://schemas.microsoft.com/office/drawing/2014/main" id="{CAEEF7FA-BD06-FA11-A69B-26B671F9D45F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969350"/>
              <a:ext cx="143082" cy="142065"/>
            </a:xfrm>
            <a:prstGeom prst="rect">
              <a:avLst/>
            </a:prstGeom>
            <a:solidFill>
              <a:srgbClr val="EFBF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80" name="Rectangle 21">
              <a:extLst>
                <a:ext uri="{FF2B5EF4-FFF2-40B4-BE49-F238E27FC236}">
                  <a16:creationId xmlns:a16="http://schemas.microsoft.com/office/drawing/2014/main" id="{42AEF25A-BD32-2B63-6CB9-615263501AE9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6141916"/>
              <a:ext cx="143082" cy="142065"/>
            </a:xfrm>
            <a:prstGeom prst="rect">
              <a:avLst/>
            </a:prstGeom>
            <a:solidFill>
              <a:srgbClr val="F5D4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81" name="Rectangle 34">
              <a:extLst>
                <a:ext uri="{FF2B5EF4-FFF2-40B4-BE49-F238E27FC236}">
                  <a16:creationId xmlns:a16="http://schemas.microsoft.com/office/drawing/2014/main" id="{624DB57E-04F2-FE6E-2F1F-6FD6E404C9B2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6314483"/>
              <a:ext cx="143082" cy="142065"/>
            </a:xfrm>
            <a:prstGeom prst="rect">
              <a:avLst/>
            </a:prstGeom>
            <a:solidFill>
              <a:srgbClr val="FAEA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82" name="Rectangle 9">
              <a:extLst>
                <a:ext uri="{FF2B5EF4-FFF2-40B4-BE49-F238E27FC236}">
                  <a16:creationId xmlns:a16="http://schemas.microsoft.com/office/drawing/2014/main" id="{F585EDA6-7DC2-3B13-26E8-C9DF2AAFB37C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756056"/>
              <a:ext cx="143082" cy="142065"/>
            </a:xfrm>
            <a:prstGeom prst="rect">
              <a:avLst/>
            </a:prstGeom>
            <a:solidFill>
              <a:srgbClr val="40AC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83" name="Rectangle 22">
              <a:extLst>
                <a:ext uri="{FF2B5EF4-FFF2-40B4-BE49-F238E27FC236}">
                  <a16:creationId xmlns:a16="http://schemas.microsoft.com/office/drawing/2014/main" id="{0A2E5B7E-55EB-B152-6F4F-90908FE9B006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928623"/>
              <a:ext cx="143082" cy="142065"/>
            </a:xfrm>
            <a:prstGeom prst="rect">
              <a:avLst/>
            </a:prstGeom>
            <a:solidFill>
              <a:srgbClr val="80C8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84" name="Rectangle 49">
              <a:extLst>
                <a:ext uri="{FF2B5EF4-FFF2-40B4-BE49-F238E27FC236}">
                  <a16:creationId xmlns:a16="http://schemas.microsoft.com/office/drawing/2014/main" id="{93E863CB-F7EB-517A-B561-934A8E411A73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101189"/>
              <a:ext cx="143082" cy="142065"/>
            </a:xfrm>
            <a:prstGeom prst="rect">
              <a:avLst/>
            </a:prstGeom>
            <a:solidFill>
              <a:srgbClr val="BFE3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85" name="Rectangle 11">
              <a:extLst>
                <a:ext uri="{FF2B5EF4-FFF2-40B4-BE49-F238E27FC236}">
                  <a16:creationId xmlns:a16="http://schemas.microsoft.com/office/drawing/2014/main" id="{1A27A2B7-B4A0-CE6F-1DAA-E46E05D03F77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279085"/>
              <a:ext cx="143082" cy="142065"/>
            </a:xfrm>
            <a:prstGeom prst="rect">
              <a:avLst/>
            </a:prstGeom>
            <a:solidFill>
              <a:srgbClr val="72B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86" name="Rectangle 24">
              <a:extLst>
                <a:ext uri="{FF2B5EF4-FFF2-40B4-BE49-F238E27FC236}">
                  <a16:creationId xmlns:a16="http://schemas.microsoft.com/office/drawing/2014/main" id="{A79FB355-9CA8-52FE-770C-A137DA457BCE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451651"/>
              <a:ext cx="143082" cy="142065"/>
            </a:xfrm>
            <a:prstGeom prst="rect">
              <a:avLst/>
            </a:prstGeom>
            <a:solidFill>
              <a:srgbClr val="A1D3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87" name="Rectangle 55">
              <a:extLst>
                <a:ext uri="{FF2B5EF4-FFF2-40B4-BE49-F238E27FC236}">
                  <a16:creationId xmlns:a16="http://schemas.microsoft.com/office/drawing/2014/main" id="{BB815A06-D837-7DC6-D329-51D7BE623945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624218"/>
              <a:ext cx="143082" cy="142065"/>
            </a:xfrm>
            <a:prstGeom prst="rect">
              <a:avLst/>
            </a:prstGeom>
            <a:solidFill>
              <a:srgbClr val="D0E9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88" name="Rectangle 13">
              <a:extLst>
                <a:ext uri="{FF2B5EF4-FFF2-40B4-BE49-F238E27FC236}">
                  <a16:creationId xmlns:a16="http://schemas.microsoft.com/office/drawing/2014/main" id="{15D69EA2-5388-3D07-997F-A8AEE167A477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065791"/>
              <a:ext cx="143082" cy="142065"/>
            </a:xfrm>
            <a:prstGeom prst="rect">
              <a:avLst/>
            </a:prstGeom>
            <a:solidFill>
              <a:srgbClr val="4086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89" name="Rectangle 26">
              <a:extLst>
                <a:ext uri="{FF2B5EF4-FFF2-40B4-BE49-F238E27FC236}">
                  <a16:creationId xmlns:a16="http://schemas.microsoft.com/office/drawing/2014/main" id="{2B66FE08-B8E8-F6AE-673C-C307284DDABE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238358"/>
              <a:ext cx="143082" cy="142065"/>
            </a:xfrm>
            <a:prstGeom prst="rect">
              <a:avLst/>
            </a:prstGeom>
            <a:solidFill>
              <a:srgbClr val="80AE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0" name="Rectangle 39">
              <a:extLst>
                <a:ext uri="{FF2B5EF4-FFF2-40B4-BE49-F238E27FC236}">
                  <a16:creationId xmlns:a16="http://schemas.microsoft.com/office/drawing/2014/main" id="{E2957192-5AD3-C0C8-03CC-19A70AB318F0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410924"/>
              <a:ext cx="143082" cy="142065"/>
            </a:xfrm>
            <a:prstGeom prst="rect">
              <a:avLst/>
            </a:prstGeom>
            <a:solidFill>
              <a:srgbClr val="BFD7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1" name="Rectangle 14">
              <a:extLst>
                <a:ext uri="{FF2B5EF4-FFF2-40B4-BE49-F238E27FC236}">
                  <a16:creationId xmlns:a16="http://schemas.microsoft.com/office/drawing/2014/main" id="{61E39D56-FFC1-7385-192A-B80757558713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136587"/>
              <a:ext cx="143082" cy="142065"/>
            </a:xfrm>
            <a:prstGeom prst="rect">
              <a:avLst/>
            </a:prstGeom>
            <a:solidFill>
              <a:srgbClr val="7747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2" name="Rectangle 27">
              <a:extLst>
                <a:ext uri="{FF2B5EF4-FFF2-40B4-BE49-F238E27FC236}">
                  <a16:creationId xmlns:a16="http://schemas.microsoft.com/office/drawing/2014/main" id="{4FCE0775-FA2D-6506-5869-91486774FD5C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309153"/>
              <a:ext cx="143082" cy="142065"/>
            </a:xfrm>
            <a:prstGeom prst="rect">
              <a:avLst/>
            </a:prstGeom>
            <a:solidFill>
              <a:srgbClr val="A485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3" name="Rectangle 40">
              <a:extLst>
                <a:ext uri="{FF2B5EF4-FFF2-40B4-BE49-F238E27FC236}">
                  <a16:creationId xmlns:a16="http://schemas.microsoft.com/office/drawing/2014/main" id="{25BD321D-D39A-CF8A-80C2-B6D82EBBEACB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481719"/>
              <a:ext cx="143082" cy="142065"/>
            </a:xfrm>
            <a:prstGeom prst="rect">
              <a:avLst/>
            </a:prstGeom>
            <a:solidFill>
              <a:srgbClr val="D2C2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4" name="Rectangle 15">
              <a:extLst>
                <a:ext uri="{FF2B5EF4-FFF2-40B4-BE49-F238E27FC236}">
                  <a16:creationId xmlns:a16="http://schemas.microsoft.com/office/drawing/2014/main" id="{280F5B6E-5943-E644-6377-96F58FF31A6C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588820"/>
              <a:ext cx="143082" cy="142065"/>
            </a:xfrm>
            <a:prstGeom prst="rect">
              <a:avLst/>
            </a:prstGeom>
            <a:solidFill>
              <a:srgbClr val="40B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5" name="Rectangle 28">
              <a:extLst>
                <a:ext uri="{FF2B5EF4-FFF2-40B4-BE49-F238E27FC236}">
                  <a16:creationId xmlns:a16="http://schemas.microsoft.com/office/drawing/2014/main" id="{38DE2BD9-D6EA-D4B2-9391-6BB3B11FF784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761386"/>
              <a:ext cx="143082" cy="142065"/>
            </a:xfrm>
            <a:prstGeom prst="rect">
              <a:avLst/>
            </a:prstGeom>
            <a:solidFill>
              <a:srgbClr val="80CD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6" name="Rectangle 41">
              <a:extLst>
                <a:ext uri="{FF2B5EF4-FFF2-40B4-BE49-F238E27FC236}">
                  <a16:creationId xmlns:a16="http://schemas.microsoft.com/office/drawing/2014/main" id="{764AAB8F-2FB2-775D-3F2E-EE93579DAD50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933953"/>
              <a:ext cx="143082" cy="142065"/>
            </a:xfrm>
            <a:prstGeom prst="rect">
              <a:avLst/>
            </a:prstGeom>
            <a:solidFill>
              <a:srgbClr val="BFE6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7" name="Rectangle 5">
              <a:extLst>
                <a:ext uri="{FF2B5EF4-FFF2-40B4-BE49-F238E27FC236}">
                  <a16:creationId xmlns:a16="http://schemas.microsoft.com/office/drawing/2014/main" id="{345FAAB1-D0D1-9A50-94AA-41E3539C43D1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02959"/>
              <a:ext cx="143082" cy="142065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8" name="Rectangle 6">
              <a:extLst>
                <a:ext uri="{FF2B5EF4-FFF2-40B4-BE49-F238E27FC236}">
                  <a16:creationId xmlns:a16="http://schemas.microsoft.com/office/drawing/2014/main" id="{2B926A53-CDA3-F8AB-ADE6-C073838AF629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273755"/>
              <a:ext cx="143082" cy="142065"/>
            </a:xfrm>
            <a:prstGeom prst="rect">
              <a:avLst/>
            </a:prstGeom>
            <a:solidFill>
              <a:srgbClr val="483698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99" name="Rectangle 7">
              <a:extLst>
                <a:ext uri="{FF2B5EF4-FFF2-40B4-BE49-F238E27FC236}">
                  <a16:creationId xmlns:a16="http://schemas.microsoft.com/office/drawing/2014/main" id="{3ED6B2AB-7689-9320-5304-9D84586A3059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3725989"/>
              <a:ext cx="143082" cy="142065"/>
            </a:xfrm>
            <a:prstGeom prst="rect">
              <a:avLst/>
            </a:prstGeom>
            <a:solidFill>
              <a:srgbClr val="00A3A1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00" name="Rectangle 8">
              <a:extLst>
                <a:ext uri="{FF2B5EF4-FFF2-40B4-BE49-F238E27FC236}">
                  <a16:creationId xmlns:a16="http://schemas.microsoft.com/office/drawing/2014/main" id="{12B6935A-73FC-5551-9D97-907C953F0BBB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796784"/>
              <a:ext cx="143082" cy="142065"/>
            </a:xfrm>
            <a:prstGeom prst="rect">
              <a:avLst/>
            </a:prstGeom>
            <a:solidFill>
              <a:srgbClr val="EAAA00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01" name="Rectangle 9">
              <a:extLst>
                <a:ext uri="{FF2B5EF4-FFF2-40B4-BE49-F238E27FC236}">
                  <a16:creationId xmlns:a16="http://schemas.microsoft.com/office/drawing/2014/main" id="{29447F37-5FA9-6190-7CD1-1804F5E3F207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1583490"/>
              <a:ext cx="143082" cy="142065"/>
            </a:xfrm>
            <a:prstGeom prst="rect">
              <a:avLst/>
            </a:prstGeom>
            <a:solidFill>
              <a:srgbClr val="0091DA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02" name="Rectangle 11">
              <a:extLst>
                <a:ext uri="{FF2B5EF4-FFF2-40B4-BE49-F238E27FC236}">
                  <a16:creationId xmlns:a16="http://schemas.microsoft.com/office/drawing/2014/main" id="{268555BF-D945-6237-BECA-B5F559C277DB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5106519"/>
              <a:ext cx="143082" cy="14206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03" name="Rectangle 13">
              <a:extLst>
                <a:ext uri="{FF2B5EF4-FFF2-40B4-BE49-F238E27FC236}">
                  <a16:creationId xmlns:a16="http://schemas.microsoft.com/office/drawing/2014/main" id="{E5D374F2-0FAA-E530-2FAE-DD5778F174D7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893225"/>
              <a:ext cx="143082" cy="142065"/>
            </a:xfrm>
            <a:prstGeom prst="rect">
              <a:avLst/>
            </a:prstGeom>
            <a:solidFill>
              <a:srgbClr val="005EB8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04" name="Rectangle 14">
              <a:extLst>
                <a:ext uri="{FF2B5EF4-FFF2-40B4-BE49-F238E27FC236}">
                  <a16:creationId xmlns:a16="http://schemas.microsoft.com/office/drawing/2014/main" id="{865C7DFD-6756-2244-B31B-1A1281F591AB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3" y="2964020"/>
              <a:ext cx="143082" cy="142065"/>
            </a:xfrm>
            <a:prstGeom prst="rect">
              <a:avLst/>
            </a:prstGeom>
            <a:solidFill>
              <a:srgbClr val="470A68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05" name="Rectangle 15">
              <a:extLst>
                <a:ext uri="{FF2B5EF4-FFF2-40B4-BE49-F238E27FC236}">
                  <a16:creationId xmlns:a16="http://schemas.microsoft.com/office/drawing/2014/main" id="{F5E8DBAE-FD95-F231-FC16-6265048BC29D}"/>
                </a:ext>
              </a:extLst>
            </p:cNvPr>
            <p:cNvSpPr>
              <a:spLocks noChangeArrowheads="1"/>
            </p:cNvSpPr>
            <p:nvPr userDrawn="1"/>
          </p:nvSpPr>
          <p:spPr>
            <a:xfrm rot="5400000" flipH="1">
              <a:off x="-732562" y="4416254"/>
              <a:ext cx="143082" cy="142065"/>
            </a:xfrm>
            <a:prstGeom prst="rect">
              <a:avLst/>
            </a:prstGeom>
            <a:solidFill>
              <a:srgbClr val="009A44"/>
            </a:solidFill>
            <a:ln>
              <a:noFill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206" name="그룹 205">
            <a:extLst>
              <a:ext uri="{FF2B5EF4-FFF2-40B4-BE49-F238E27FC236}">
                <a16:creationId xmlns:a16="http://schemas.microsoft.com/office/drawing/2014/main" id="{4DFD2844-6C83-5C90-1984-03DE84037E3A}"/>
              </a:ext>
            </a:extLst>
          </p:cNvPr>
          <p:cNvGrpSpPr/>
          <p:nvPr userDrawn="1"/>
        </p:nvGrpSpPr>
        <p:grpSpPr>
          <a:xfrm>
            <a:off x="-1686237" y="249507"/>
            <a:ext cx="905097" cy="1763289"/>
            <a:chOff x="-2426585" y="2628263"/>
            <a:chExt cx="1763779" cy="1763289"/>
          </a:xfrm>
        </p:grpSpPr>
        <p:sp>
          <p:nvSpPr>
            <p:cNvPr id="207" name="Rectangle 3">
              <a:extLst>
                <a:ext uri="{FF2B5EF4-FFF2-40B4-BE49-F238E27FC236}">
                  <a16:creationId xmlns:a16="http://schemas.microsoft.com/office/drawing/2014/main" id="{10BD5783-F9EF-D558-DAA6-ACA6AD2BEBC3}"/>
                </a:ext>
              </a:extLst>
            </p:cNvPr>
            <p:cNvSpPr/>
            <p:nvPr/>
          </p:nvSpPr>
          <p:spPr>
            <a:xfrm>
              <a:off x="-2426585" y="2880263"/>
              <a:ext cx="763000" cy="252000"/>
            </a:xfrm>
            <a:prstGeom prst="rect">
              <a:avLst/>
            </a:prstGeom>
            <a:solidFill>
              <a:srgbClr val="1E49E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 / 73 / 226</a:t>
              </a:r>
            </a:p>
          </p:txBody>
        </p:sp>
        <p:sp>
          <p:nvSpPr>
            <p:cNvPr id="208" name="Rectangle 4">
              <a:extLst>
                <a:ext uri="{FF2B5EF4-FFF2-40B4-BE49-F238E27FC236}">
                  <a16:creationId xmlns:a16="http://schemas.microsoft.com/office/drawing/2014/main" id="{3ED35359-C7FA-169A-4884-73810F45C2B9}"/>
                </a:ext>
              </a:extLst>
            </p:cNvPr>
            <p:cNvSpPr/>
            <p:nvPr/>
          </p:nvSpPr>
          <p:spPr>
            <a:xfrm>
              <a:off x="-2426585" y="2628405"/>
              <a:ext cx="763000" cy="252000"/>
            </a:xfrm>
            <a:prstGeom prst="rect">
              <a:avLst/>
            </a:prstGeom>
            <a:solidFill>
              <a:srgbClr val="00338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 / 51 / 141</a:t>
              </a:r>
            </a:p>
          </p:txBody>
        </p:sp>
        <p:sp>
          <p:nvSpPr>
            <p:cNvPr id="209" name="Rectangle 5">
              <a:extLst>
                <a:ext uri="{FF2B5EF4-FFF2-40B4-BE49-F238E27FC236}">
                  <a16:creationId xmlns:a16="http://schemas.microsoft.com/office/drawing/2014/main" id="{05C7652F-57D7-FE07-1DA5-02FFDAC1DC1D}"/>
                </a:ext>
              </a:extLst>
            </p:cNvPr>
            <p:cNvSpPr/>
            <p:nvPr/>
          </p:nvSpPr>
          <p:spPr>
            <a:xfrm>
              <a:off x="-2426585" y="3132121"/>
              <a:ext cx="763000" cy="252000"/>
            </a:xfrm>
            <a:prstGeom prst="rect">
              <a:avLst/>
            </a:prstGeom>
            <a:solidFill>
              <a:srgbClr val="0C233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 / 35 / 60</a:t>
              </a:r>
            </a:p>
          </p:txBody>
        </p:sp>
        <p:sp>
          <p:nvSpPr>
            <p:cNvPr id="210" name="Rectangle 6">
              <a:extLst>
                <a:ext uri="{FF2B5EF4-FFF2-40B4-BE49-F238E27FC236}">
                  <a16:creationId xmlns:a16="http://schemas.microsoft.com/office/drawing/2014/main" id="{84878BDA-67D8-5694-DE35-42A2FD3B635E}"/>
                </a:ext>
              </a:extLst>
            </p:cNvPr>
            <p:cNvSpPr/>
            <p:nvPr/>
          </p:nvSpPr>
          <p:spPr>
            <a:xfrm>
              <a:off x="-2426585" y="3383979"/>
              <a:ext cx="763000" cy="252000"/>
            </a:xfrm>
            <a:prstGeom prst="rect">
              <a:avLst/>
            </a:prstGeom>
            <a:solidFill>
              <a:srgbClr val="ACEA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72 / 234 / 255</a:t>
              </a:r>
            </a:p>
          </p:txBody>
        </p:sp>
        <p:sp>
          <p:nvSpPr>
            <p:cNvPr id="211" name="Rectangle 19">
              <a:extLst>
                <a:ext uri="{FF2B5EF4-FFF2-40B4-BE49-F238E27FC236}">
                  <a16:creationId xmlns:a16="http://schemas.microsoft.com/office/drawing/2014/main" id="{701657F5-E176-322D-839F-4E641CC14290}"/>
                </a:ext>
              </a:extLst>
            </p:cNvPr>
            <p:cNvSpPr/>
            <p:nvPr/>
          </p:nvSpPr>
          <p:spPr>
            <a:xfrm>
              <a:off x="-2426585" y="3635837"/>
              <a:ext cx="763000" cy="252000"/>
            </a:xfrm>
            <a:prstGeom prst="rect">
              <a:avLst/>
            </a:prstGeom>
            <a:solidFill>
              <a:srgbClr val="00B8F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 / 184 / 245</a:t>
              </a:r>
            </a:p>
          </p:txBody>
        </p:sp>
        <p:sp>
          <p:nvSpPr>
            <p:cNvPr id="212" name="Rectangle 20">
              <a:extLst>
                <a:ext uri="{FF2B5EF4-FFF2-40B4-BE49-F238E27FC236}">
                  <a16:creationId xmlns:a16="http://schemas.microsoft.com/office/drawing/2014/main" id="{430579A2-2ABB-A6C8-87B1-FA72F0383045}"/>
                </a:ext>
              </a:extLst>
            </p:cNvPr>
            <p:cNvSpPr/>
            <p:nvPr/>
          </p:nvSpPr>
          <p:spPr>
            <a:xfrm>
              <a:off x="-2426585" y="3887695"/>
              <a:ext cx="763000" cy="252000"/>
            </a:xfrm>
            <a:prstGeom prst="rect">
              <a:avLst/>
            </a:prstGeom>
            <a:solidFill>
              <a:srgbClr val="7213E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14 / 19 / 234</a:t>
              </a:r>
            </a:p>
          </p:txBody>
        </p:sp>
        <p:sp>
          <p:nvSpPr>
            <p:cNvPr id="213" name="Rectangle 21">
              <a:extLst>
                <a:ext uri="{FF2B5EF4-FFF2-40B4-BE49-F238E27FC236}">
                  <a16:creationId xmlns:a16="http://schemas.microsoft.com/office/drawing/2014/main" id="{569D13FA-34ED-C858-4701-0EC613EBA9F4}"/>
                </a:ext>
              </a:extLst>
            </p:cNvPr>
            <p:cNvSpPr/>
            <p:nvPr/>
          </p:nvSpPr>
          <p:spPr>
            <a:xfrm>
              <a:off x="-2426585" y="4139552"/>
              <a:ext cx="763000" cy="252000"/>
            </a:xfrm>
            <a:prstGeom prst="rect">
              <a:avLst/>
            </a:prstGeom>
            <a:solidFill>
              <a:srgbClr val="FD349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53 / 52 / 156</a:t>
              </a:r>
            </a:p>
          </p:txBody>
        </p:sp>
        <p:sp>
          <p:nvSpPr>
            <p:cNvPr id="214" name="Rectangle 3">
              <a:extLst>
                <a:ext uri="{FF2B5EF4-FFF2-40B4-BE49-F238E27FC236}">
                  <a16:creationId xmlns:a16="http://schemas.microsoft.com/office/drawing/2014/main" id="{35516987-5DB6-EC29-CCBE-0F5C54084677}"/>
                </a:ext>
              </a:extLst>
            </p:cNvPr>
            <p:cNvSpPr/>
            <p:nvPr/>
          </p:nvSpPr>
          <p:spPr>
            <a:xfrm>
              <a:off x="-1667383" y="2880263"/>
              <a:ext cx="252000" cy="252000"/>
            </a:xfrm>
            <a:prstGeom prst="rect">
              <a:avLst/>
            </a:prstGeom>
            <a:solidFill>
              <a:srgbClr val="4B6D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5" name="Rectangle 4">
              <a:extLst>
                <a:ext uri="{FF2B5EF4-FFF2-40B4-BE49-F238E27FC236}">
                  <a16:creationId xmlns:a16="http://schemas.microsoft.com/office/drawing/2014/main" id="{064C660B-3350-514F-EF15-3B52D1901830}"/>
                </a:ext>
              </a:extLst>
            </p:cNvPr>
            <p:cNvSpPr/>
            <p:nvPr/>
          </p:nvSpPr>
          <p:spPr>
            <a:xfrm>
              <a:off x="-1667383" y="2628405"/>
              <a:ext cx="252000" cy="252000"/>
            </a:xfrm>
            <a:prstGeom prst="rect">
              <a:avLst/>
            </a:prstGeom>
            <a:solidFill>
              <a:srgbClr val="335CA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6" name="Rectangle 5">
              <a:extLst>
                <a:ext uri="{FF2B5EF4-FFF2-40B4-BE49-F238E27FC236}">
                  <a16:creationId xmlns:a16="http://schemas.microsoft.com/office/drawing/2014/main" id="{6ADF0EDA-E55C-DAEC-B15A-16B700C61B7C}"/>
                </a:ext>
              </a:extLst>
            </p:cNvPr>
            <p:cNvSpPr/>
            <p:nvPr/>
          </p:nvSpPr>
          <p:spPr>
            <a:xfrm>
              <a:off x="-1667383" y="3132121"/>
              <a:ext cx="252000" cy="252000"/>
            </a:xfrm>
            <a:prstGeom prst="rect">
              <a:avLst/>
            </a:prstGeom>
            <a:solidFill>
              <a:srgbClr val="3D4F6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7" name="Rectangle 6">
              <a:extLst>
                <a:ext uri="{FF2B5EF4-FFF2-40B4-BE49-F238E27FC236}">
                  <a16:creationId xmlns:a16="http://schemas.microsoft.com/office/drawing/2014/main" id="{FC9D1664-5FFE-42FB-E8FA-DF400870DD88}"/>
                </a:ext>
              </a:extLst>
            </p:cNvPr>
            <p:cNvSpPr/>
            <p:nvPr/>
          </p:nvSpPr>
          <p:spPr>
            <a:xfrm>
              <a:off x="-1667383" y="3383979"/>
              <a:ext cx="252000" cy="252000"/>
            </a:xfrm>
            <a:prstGeom prst="rect">
              <a:avLst/>
            </a:prstGeom>
            <a:solidFill>
              <a:srgbClr val="BDEE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8" name="Rectangle 19">
              <a:extLst>
                <a:ext uri="{FF2B5EF4-FFF2-40B4-BE49-F238E27FC236}">
                  <a16:creationId xmlns:a16="http://schemas.microsoft.com/office/drawing/2014/main" id="{846529A9-9543-55B4-1690-E41D0EAA1CB4}"/>
                </a:ext>
              </a:extLst>
            </p:cNvPr>
            <p:cNvSpPr/>
            <p:nvPr/>
          </p:nvSpPr>
          <p:spPr>
            <a:xfrm>
              <a:off x="-1667383" y="3635837"/>
              <a:ext cx="252000" cy="252000"/>
            </a:xfrm>
            <a:prstGeom prst="rect">
              <a:avLst/>
            </a:prstGeom>
            <a:solidFill>
              <a:srgbClr val="33C6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9" name="Rectangle 20">
              <a:extLst>
                <a:ext uri="{FF2B5EF4-FFF2-40B4-BE49-F238E27FC236}">
                  <a16:creationId xmlns:a16="http://schemas.microsoft.com/office/drawing/2014/main" id="{B83FE01A-3CDE-1196-6672-CC4C8756FED4}"/>
                </a:ext>
              </a:extLst>
            </p:cNvPr>
            <p:cNvSpPr/>
            <p:nvPr/>
          </p:nvSpPr>
          <p:spPr>
            <a:xfrm>
              <a:off x="-1667383" y="3887695"/>
              <a:ext cx="252000" cy="252000"/>
            </a:xfrm>
            <a:prstGeom prst="rect">
              <a:avLst/>
            </a:prstGeom>
            <a:solidFill>
              <a:srgbClr val="8E42E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0" name="Rectangle 21">
              <a:extLst>
                <a:ext uri="{FF2B5EF4-FFF2-40B4-BE49-F238E27FC236}">
                  <a16:creationId xmlns:a16="http://schemas.microsoft.com/office/drawing/2014/main" id="{CC59D98D-16B7-C01C-2767-5EBF7D3F1F34}"/>
                </a:ext>
              </a:extLst>
            </p:cNvPr>
            <p:cNvSpPr/>
            <p:nvPr/>
          </p:nvSpPr>
          <p:spPr>
            <a:xfrm>
              <a:off x="-1667383" y="4139552"/>
              <a:ext cx="252000" cy="252000"/>
            </a:xfrm>
            <a:prstGeom prst="rect">
              <a:avLst/>
            </a:prstGeom>
            <a:solidFill>
              <a:srgbClr val="FD5DB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1" name="Rectangle 3">
              <a:extLst>
                <a:ext uri="{FF2B5EF4-FFF2-40B4-BE49-F238E27FC236}">
                  <a16:creationId xmlns:a16="http://schemas.microsoft.com/office/drawing/2014/main" id="{A278DBFB-BD4F-4F10-8B58-C29CEEEA7F0C}"/>
                </a:ext>
              </a:extLst>
            </p:cNvPr>
            <p:cNvSpPr/>
            <p:nvPr/>
          </p:nvSpPr>
          <p:spPr>
            <a:xfrm>
              <a:off x="-1415383" y="2880263"/>
              <a:ext cx="252000" cy="252000"/>
            </a:xfrm>
            <a:prstGeom prst="rect">
              <a:avLst/>
            </a:prstGeom>
            <a:solidFill>
              <a:srgbClr val="7892E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2" name="Rectangle 4">
              <a:extLst>
                <a:ext uri="{FF2B5EF4-FFF2-40B4-BE49-F238E27FC236}">
                  <a16:creationId xmlns:a16="http://schemas.microsoft.com/office/drawing/2014/main" id="{4C238654-B8F4-72FE-47DF-13A8ACF1B0B5}"/>
                </a:ext>
              </a:extLst>
            </p:cNvPr>
            <p:cNvSpPr/>
            <p:nvPr/>
          </p:nvSpPr>
          <p:spPr>
            <a:xfrm>
              <a:off x="-1415383" y="2628405"/>
              <a:ext cx="252000" cy="252000"/>
            </a:xfrm>
            <a:prstGeom prst="rect">
              <a:avLst/>
            </a:prstGeom>
            <a:solidFill>
              <a:srgbClr val="6685B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3" name="Rectangle 5">
              <a:extLst>
                <a:ext uri="{FF2B5EF4-FFF2-40B4-BE49-F238E27FC236}">
                  <a16:creationId xmlns:a16="http://schemas.microsoft.com/office/drawing/2014/main" id="{F48F330F-24B3-D685-91F4-CF9551619279}"/>
                </a:ext>
              </a:extLst>
            </p:cNvPr>
            <p:cNvSpPr/>
            <p:nvPr/>
          </p:nvSpPr>
          <p:spPr>
            <a:xfrm>
              <a:off x="-1415383" y="3132121"/>
              <a:ext cx="252000" cy="252000"/>
            </a:xfrm>
            <a:prstGeom prst="rect">
              <a:avLst/>
            </a:prstGeom>
            <a:solidFill>
              <a:srgbClr val="6D7B8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4" name="Rectangle 6">
              <a:extLst>
                <a:ext uri="{FF2B5EF4-FFF2-40B4-BE49-F238E27FC236}">
                  <a16:creationId xmlns:a16="http://schemas.microsoft.com/office/drawing/2014/main" id="{4832D389-3F7A-03FD-CE6E-E3BB782299FF}"/>
                </a:ext>
              </a:extLst>
            </p:cNvPr>
            <p:cNvSpPr/>
            <p:nvPr/>
          </p:nvSpPr>
          <p:spPr>
            <a:xfrm>
              <a:off x="-1415383" y="3383979"/>
              <a:ext cx="252000" cy="252000"/>
            </a:xfrm>
            <a:prstGeom prst="rect">
              <a:avLst/>
            </a:prstGeom>
            <a:solidFill>
              <a:srgbClr val="CDF2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5" name="Rectangle 19">
              <a:extLst>
                <a:ext uri="{FF2B5EF4-FFF2-40B4-BE49-F238E27FC236}">
                  <a16:creationId xmlns:a16="http://schemas.microsoft.com/office/drawing/2014/main" id="{A5484385-A43F-C538-006E-C4CA8746DF26}"/>
                </a:ext>
              </a:extLst>
            </p:cNvPr>
            <p:cNvSpPr/>
            <p:nvPr/>
          </p:nvSpPr>
          <p:spPr>
            <a:xfrm>
              <a:off x="-1415383" y="3635837"/>
              <a:ext cx="252000" cy="252000"/>
            </a:xfrm>
            <a:prstGeom prst="rect">
              <a:avLst/>
            </a:prstGeom>
            <a:solidFill>
              <a:srgbClr val="66D4F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6" name="Rectangle 20">
              <a:extLst>
                <a:ext uri="{FF2B5EF4-FFF2-40B4-BE49-F238E27FC236}">
                  <a16:creationId xmlns:a16="http://schemas.microsoft.com/office/drawing/2014/main" id="{1F7A86E6-B7E2-9311-B541-E8261A97B69E}"/>
                </a:ext>
              </a:extLst>
            </p:cNvPr>
            <p:cNvSpPr/>
            <p:nvPr/>
          </p:nvSpPr>
          <p:spPr>
            <a:xfrm>
              <a:off x="-1415383" y="3887695"/>
              <a:ext cx="252000" cy="252000"/>
            </a:xfrm>
            <a:prstGeom prst="rect">
              <a:avLst/>
            </a:prstGeom>
            <a:solidFill>
              <a:srgbClr val="AA71F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7" name="Rectangle 21">
              <a:extLst>
                <a:ext uri="{FF2B5EF4-FFF2-40B4-BE49-F238E27FC236}">
                  <a16:creationId xmlns:a16="http://schemas.microsoft.com/office/drawing/2014/main" id="{3CD73D08-B396-30C3-A2BB-5FD8ACA540BD}"/>
                </a:ext>
              </a:extLst>
            </p:cNvPr>
            <p:cNvSpPr/>
            <p:nvPr/>
          </p:nvSpPr>
          <p:spPr>
            <a:xfrm>
              <a:off x="-1415383" y="4139552"/>
              <a:ext cx="252000" cy="252000"/>
            </a:xfrm>
            <a:prstGeom prst="rect">
              <a:avLst/>
            </a:prstGeom>
            <a:solidFill>
              <a:srgbClr val="FE85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8" name="Rectangle 3">
              <a:extLst>
                <a:ext uri="{FF2B5EF4-FFF2-40B4-BE49-F238E27FC236}">
                  <a16:creationId xmlns:a16="http://schemas.microsoft.com/office/drawing/2014/main" id="{AC6A8087-569A-A4F3-1388-8167FE3C57F9}"/>
                </a:ext>
              </a:extLst>
            </p:cNvPr>
            <p:cNvSpPr/>
            <p:nvPr/>
          </p:nvSpPr>
          <p:spPr>
            <a:xfrm>
              <a:off x="-1166305" y="2880263"/>
              <a:ext cx="252000" cy="252000"/>
            </a:xfrm>
            <a:prstGeom prst="rect">
              <a:avLst/>
            </a:prstGeom>
            <a:solidFill>
              <a:srgbClr val="A5B6F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9" name="Rectangle 4">
              <a:extLst>
                <a:ext uri="{FF2B5EF4-FFF2-40B4-BE49-F238E27FC236}">
                  <a16:creationId xmlns:a16="http://schemas.microsoft.com/office/drawing/2014/main" id="{5588514D-962F-B0AE-581A-4A750FC72CCA}"/>
                </a:ext>
              </a:extLst>
            </p:cNvPr>
            <p:cNvSpPr/>
            <p:nvPr/>
          </p:nvSpPr>
          <p:spPr>
            <a:xfrm>
              <a:off x="-1166305" y="2628405"/>
              <a:ext cx="252000" cy="252000"/>
            </a:xfrm>
            <a:prstGeom prst="rect">
              <a:avLst/>
            </a:prstGeom>
            <a:solidFill>
              <a:srgbClr val="99ADD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0" name="Rectangle 5">
              <a:extLst>
                <a:ext uri="{FF2B5EF4-FFF2-40B4-BE49-F238E27FC236}">
                  <a16:creationId xmlns:a16="http://schemas.microsoft.com/office/drawing/2014/main" id="{FC31284A-803B-1464-24D7-1B3B388A942F}"/>
                </a:ext>
              </a:extLst>
            </p:cNvPr>
            <p:cNvSpPr/>
            <p:nvPr/>
          </p:nvSpPr>
          <p:spPr>
            <a:xfrm>
              <a:off x="-1166305" y="3132121"/>
              <a:ext cx="252000" cy="252000"/>
            </a:xfrm>
            <a:prstGeom prst="rect">
              <a:avLst/>
            </a:prstGeom>
            <a:solidFill>
              <a:srgbClr val="9EA7B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1" name="Rectangle 6">
              <a:extLst>
                <a:ext uri="{FF2B5EF4-FFF2-40B4-BE49-F238E27FC236}">
                  <a16:creationId xmlns:a16="http://schemas.microsoft.com/office/drawing/2014/main" id="{DD4F3E8E-321D-AF15-AC94-C3F1185BA4F4}"/>
                </a:ext>
              </a:extLst>
            </p:cNvPr>
            <p:cNvSpPr/>
            <p:nvPr/>
          </p:nvSpPr>
          <p:spPr>
            <a:xfrm>
              <a:off x="-1166305" y="3383979"/>
              <a:ext cx="252000" cy="252000"/>
            </a:xfrm>
            <a:prstGeom prst="rect">
              <a:avLst/>
            </a:prstGeom>
            <a:solidFill>
              <a:srgbClr val="DEF7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2" name="Rectangle 19">
              <a:extLst>
                <a:ext uri="{FF2B5EF4-FFF2-40B4-BE49-F238E27FC236}">
                  <a16:creationId xmlns:a16="http://schemas.microsoft.com/office/drawing/2014/main" id="{D055048D-A9BD-43E7-E742-C857298AD978}"/>
                </a:ext>
              </a:extLst>
            </p:cNvPr>
            <p:cNvSpPr/>
            <p:nvPr/>
          </p:nvSpPr>
          <p:spPr>
            <a:xfrm>
              <a:off x="-1166305" y="3635837"/>
              <a:ext cx="252000" cy="252000"/>
            </a:xfrm>
            <a:prstGeom prst="rect">
              <a:avLst/>
            </a:prstGeom>
            <a:solidFill>
              <a:srgbClr val="99E3F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3" name="Rectangle 20">
              <a:extLst>
                <a:ext uri="{FF2B5EF4-FFF2-40B4-BE49-F238E27FC236}">
                  <a16:creationId xmlns:a16="http://schemas.microsoft.com/office/drawing/2014/main" id="{CB39E2C4-A11E-C8EE-FC50-A302E4BD93AD}"/>
                </a:ext>
              </a:extLst>
            </p:cNvPr>
            <p:cNvSpPr/>
            <p:nvPr/>
          </p:nvSpPr>
          <p:spPr>
            <a:xfrm>
              <a:off x="-1166305" y="3887695"/>
              <a:ext cx="252000" cy="252000"/>
            </a:xfrm>
            <a:prstGeom prst="rect">
              <a:avLst/>
            </a:prstGeom>
            <a:solidFill>
              <a:srgbClr val="C7A1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4" name="Rectangle 21">
              <a:extLst>
                <a:ext uri="{FF2B5EF4-FFF2-40B4-BE49-F238E27FC236}">
                  <a16:creationId xmlns:a16="http://schemas.microsoft.com/office/drawing/2014/main" id="{816B8D54-21E5-4F6D-9252-6D182F95B34A}"/>
                </a:ext>
              </a:extLst>
            </p:cNvPr>
            <p:cNvSpPr/>
            <p:nvPr/>
          </p:nvSpPr>
          <p:spPr>
            <a:xfrm>
              <a:off x="-1166305" y="4139552"/>
              <a:ext cx="252000" cy="252000"/>
            </a:xfrm>
            <a:prstGeom prst="rect">
              <a:avLst/>
            </a:prstGeom>
            <a:solidFill>
              <a:srgbClr val="FEAED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5" name="Rectangle 3">
              <a:extLst>
                <a:ext uri="{FF2B5EF4-FFF2-40B4-BE49-F238E27FC236}">
                  <a16:creationId xmlns:a16="http://schemas.microsoft.com/office/drawing/2014/main" id="{BAB426CC-894E-4C9C-CA91-B2C2327733F7}"/>
                </a:ext>
              </a:extLst>
            </p:cNvPr>
            <p:cNvSpPr/>
            <p:nvPr/>
          </p:nvSpPr>
          <p:spPr>
            <a:xfrm>
              <a:off x="-914806" y="2880121"/>
              <a:ext cx="252000" cy="252000"/>
            </a:xfrm>
            <a:prstGeom prst="rect">
              <a:avLst/>
            </a:prstGeom>
            <a:solidFill>
              <a:srgbClr val="D2DBF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6" name="Rectangle 4">
              <a:extLst>
                <a:ext uri="{FF2B5EF4-FFF2-40B4-BE49-F238E27FC236}">
                  <a16:creationId xmlns:a16="http://schemas.microsoft.com/office/drawing/2014/main" id="{8E34FC24-9216-BC87-04C2-52B8DCF6D56F}"/>
                </a:ext>
              </a:extLst>
            </p:cNvPr>
            <p:cNvSpPr/>
            <p:nvPr/>
          </p:nvSpPr>
          <p:spPr>
            <a:xfrm>
              <a:off x="-914806" y="2628263"/>
              <a:ext cx="252000" cy="252000"/>
            </a:xfrm>
            <a:prstGeom prst="rect">
              <a:avLst/>
            </a:prstGeom>
            <a:solidFill>
              <a:srgbClr val="CCD6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7" name="Rectangle 5">
              <a:extLst>
                <a:ext uri="{FF2B5EF4-FFF2-40B4-BE49-F238E27FC236}">
                  <a16:creationId xmlns:a16="http://schemas.microsoft.com/office/drawing/2014/main" id="{34C62343-5C8E-2DF1-D740-E5869C98A55E}"/>
                </a:ext>
              </a:extLst>
            </p:cNvPr>
            <p:cNvSpPr/>
            <p:nvPr/>
          </p:nvSpPr>
          <p:spPr>
            <a:xfrm>
              <a:off x="-914806" y="3131979"/>
              <a:ext cx="252000" cy="252000"/>
            </a:xfrm>
            <a:prstGeom prst="rect">
              <a:avLst/>
            </a:prstGeom>
            <a:solidFill>
              <a:srgbClr val="CED3D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8" name="Rectangle 6">
              <a:extLst>
                <a:ext uri="{FF2B5EF4-FFF2-40B4-BE49-F238E27FC236}">
                  <a16:creationId xmlns:a16="http://schemas.microsoft.com/office/drawing/2014/main" id="{61216B1F-CA27-C050-7087-831049B97B69}"/>
                </a:ext>
              </a:extLst>
            </p:cNvPr>
            <p:cNvSpPr/>
            <p:nvPr/>
          </p:nvSpPr>
          <p:spPr>
            <a:xfrm>
              <a:off x="-914806" y="3383837"/>
              <a:ext cx="252000" cy="252000"/>
            </a:xfrm>
            <a:prstGeom prst="rect">
              <a:avLst/>
            </a:prstGeom>
            <a:solidFill>
              <a:srgbClr val="EEFB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9" name="Rectangle 19">
              <a:extLst>
                <a:ext uri="{FF2B5EF4-FFF2-40B4-BE49-F238E27FC236}">
                  <a16:creationId xmlns:a16="http://schemas.microsoft.com/office/drawing/2014/main" id="{CDE1B7FB-B682-56A7-85E8-BA7D8C069B0F}"/>
                </a:ext>
              </a:extLst>
            </p:cNvPr>
            <p:cNvSpPr/>
            <p:nvPr/>
          </p:nvSpPr>
          <p:spPr>
            <a:xfrm>
              <a:off x="-914806" y="3635695"/>
              <a:ext cx="252000" cy="252000"/>
            </a:xfrm>
            <a:prstGeom prst="rect">
              <a:avLst/>
            </a:prstGeom>
            <a:solidFill>
              <a:srgbClr val="CCF1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0" name="Rectangle 20">
              <a:extLst>
                <a:ext uri="{FF2B5EF4-FFF2-40B4-BE49-F238E27FC236}">
                  <a16:creationId xmlns:a16="http://schemas.microsoft.com/office/drawing/2014/main" id="{370C09D1-64F7-EF8F-83FB-49080561EED8}"/>
                </a:ext>
              </a:extLst>
            </p:cNvPr>
            <p:cNvSpPr/>
            <p:nvPr/>
          </p:nvSpPr>
          <p:spPr>
            <a:xfrm>
              <a:off x="-914806" y="3887553"/>
              <a:ext cx="252000" cy="252000"/>
            </a:xfrm>
            <a:prstGeom prst="rect">
              <a:avLst/>
            </a:prstGeom>
            <a:solidFill>
              <a:srgbClr val="E3D0F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1" name="Rectangle 21">
              <a:extLst>
                <a:ext uri="{FF2B5EF4-FFF2-40B4-BE49-F238E27FC236}">
                  <a16:creationId xmlns:a16="http://schemas.microsoft.com/office/drawing/2014/main" id="{9A48D22E-FB25-55FE-892F-ED5B6305F0A6}"/>
                </a:ext>
              </a:extLst>
            </p:cNvPr>
            <p:cNvSpPr/>
            <p:nvPr/>
          </p:nvSpPr>
          <p:spPr>
            <a:xfrm>
              <a:off x="-914806" y="4139410"/>
              <a:ext cx="252000" cy="252000"/>
            </a:xfrm>
            <a:prstGeom prst="rect">
              <a:avLst/>
            </a:prstGeom>
            <a:solidFill>
              <a:srgbClr val="FFD6E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43" name="TextBox 242">
            <a:extLst>
              <a:ext uri="{FF2B5EF4-FFF2-40B4-BE49-F238E27FC236}">
                <a16:creationId xmlns:a16="http://schemas.microsoft.com/office/drawing/2014/main" id="{A1F959E0-FCF3-0827-2138-3553773DEF2B}"/>
              </a:ext>
            </a:extLst>
          </p:cNvPr>
          <p:cNvSpPr txBox="1"/>
          <p:nvPr userDrawn="1"/>
        </p:nvSpPr>
        <p:spPr>
          <a:xfrm>
            <a:off x="360000" y="430733"/>
            <a:ext cx="1482384" cy="257369"/>
          </a:xfrm>
          <a:prstGeom prst="rect">
            <a:avLst/>
          </a:prstGeom>
          <a:noFill/>
          <a:ln>
            <a:noFill/>
          </a:ln>
        </p:spPr>
        <p:txBody>
          <a:bodyPr wrap="none" lIns="36000" tIns="36000" rIns="36000" bIns="36000" rtlCol="0" anchor="ctr">
            <a:spAutoFit/>
          </a:bodyPr>
          <a:lstStyle/>
          <a:p>
            <a:pPr algn="dist"/>
            <a:r>
              <a:rPr lang="en-US" altLang="ko-KR" sz="1200" b="0" spc="338" baseline="0" dirty="0">
                <a:solidFill>
                  <a:srgbClr val="4E4F50"/>
                </a:solidFill>
                <a:latin typeface="Outfit SemiBold" pitchFamily="2" charset="0"/>
                <a:ea typeface="나눔스퀘어 네오 Bold" panose="00000800000000000000" pitchFamily="2" charset="-127"/>
                <a:cs typeface="TT Commons Pro Bold"/>
                <a:sym typeface="TT Commons Pro Bold"/>
              </a:rPr>
              <a:t>CONTACT US</a:t>
            </a:r>
            <a:endParaRPr lang="ko-KR" altLang="en-US" sz="1200" b="0" baseline="0" dirty="0">
              <a:solidFill>
                <a:srgbClr val="4E4F50"/>
              </a:solidFill>
              <a:latin typeface="Outfit SemiBold" pitchFamily="2" charset="0"/>
              <a:ea typeface="나눔스퀘어 네오 Bold" panose="00000800000000000000" pitchFamily="2" charset="-127"/>
              <a:cs typeface="Univers for KPMG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D7D40F3E-4FA5-FC34-55BE-57F582A4B422}"/>
              </a:ext>
            </a:extLst>
          </p:cNvPr>
          <p:cNvGrpSpPr/>
          <p:nvPr userDrawn="1"/>
        </p:nvGrpSpPr>
        <p:grpSpPr>
          <a:xfrm>
            <a:off x="8534231" y="-387424"/>
            <a:ext cx="1098719" cy="252142"/>
            <a:chOff x="8534231" y="-387424"/>
            <a:chExt cx="1098719" cy="252142"/>
          </a:xfrm>
        </p:grpSpPr>
        <p:sp>
          <p:nvSpPr>
            <p:cNvPr id="4" name="Rectangle 4">
              <a:extLst>
                <a:ext uri="{FF2B5EF4-FFF2-40B4-BE49-F238E27FC236}">
                  <a16:creationId xmlns:a16="http://schemas.microsoft.com/office/drawing/2014/main" id="{CC6C1659-1B2B-332F-5EC6-44AE7D49DAF1}"/>
                </a:ext>
              </a:extLst>
            </p:cNvPr>
            <p:cNvSpPr/>
            <p:nvPr userDrawn="1"/>
          </p:nvSpPr>
          <p:spPr>
            <a:xfrm>
              <a:off x="8534231" y="-387282"/>
              <a:ext cx="980176" cy="252000"/>
            </a:xfrm>
            <a:prstGeom prst="rect">
              <a:avLst/>
            </a:pr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 / 35 / 60`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82FC65C-7141-2EA9-2D72-185CA1266B16}"/>
                </a:ext>
              </a:extLst>
            </p:cNvPr>
            <p:cNvSpPr/>
            <p:nvPr userDrawn="1"/>
          </p:nvSpPr>
          <p:spPr>
            <a:xfrm>
              <a:off x="9124695" y="-387282"/>
              <a:ext cx="127497" cy="252000"/>
            </a:xfrm>
            <a:prstGeom prst="rect">
              <a:avLst/>
            </a:prstGeom>
            <a:solidFill>
              <a:srgbClr val="4E4F5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Rectangle 4">
              <a:extLst>
                <a:ext uri="{FF2B5EF4-FFF2-40B4-BE49-F238E27FC236}">
                  <a16:creationId xmlns:a16="http://schemas.microsoft.com/office/drawing/2014/main" id="{C9C6424B-C700-1623-EA6E-D65A9C79B6CE}"/>
                </a:ext>
              </a:extLst>
            </p:cNvPr>
            <p:cNvSpPr/>
            <p:nvPr userDrawn="1"/>
          </p:nvSpPr>
          <p:spPr>
            <a:xfrm>
              <a:off x="9252192" y="-387282"/>
              <a:ext cx="127497" cy="252000"/>
            </a:xfrm>
            <a:prstGeom prst="rect">
              <a:avLst/>
            </a:prstGeom>
            <a:solidFill>
              <a:srgbClr val="E3E4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Rectangle 4">
              <a:extLst>
                <a:ext uri="{FF2B5EF4-FFF2-40B4-BE49-F238E27FC236}">
                  <a16:creationId xmlns:a16="http://schemas.microsoft.com/office/drawing/2014/main" id="{9F3EE96B-E50B-13CE-7AA8-E1F4DEBA00C2}"/>
                </a:ext>
              </a:extLst>
            </p:cNvPr>
            <p:cNvSpPr/>
            <p:nvPr userDrawn="1"/>
          </p:nvSpPr>
          <p:spPr>
            <a:xfrm>
              <a:off x="9378211" y="-387282"/>
              <a:ext cx="127497" cy="252000"/>
            </a:xfrm>
            <a:prstGeom prst="rect">
              <a:avLst/>
            </a:prstGeom>
            <a:solidFill>
              <a:srgbClr val="F4F4F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Rectangle 4">
              <a:extLst>
                <a:ext uri="{FF2B5EF4-FFF2-40B4-BE49-F238E27FC236}">
                  <a16:creationId xmlns:a16="http://schemas.microsoft.com/office/drawing/2014/main" id="{04C3A28F-CCD1-5923-E2FC-86C5C00D0276}"/>
                </a:ext>
              </a:extLst>
            </p:cNvPr>
            <p:cNvSpPr/>
            <p:nvPr userDrawn="1"/>
          </p:nvSpPr>
          <p:spPr>
            <a:xfrm>
              <a:off x="9505453" y="-387424"/>
              <a:ext cx="127497" cy="252000"/>
            </a:xfrm>
            <a:prstGeom prst="rect">
              <a:avLst/>
            </a:prstGeom>
            <a:solidFill>
              <a:srgbClr val="B2DFE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none" lIns="54610" tIns="54610" rIns="54610" bIns="54610" rtlCol="0" anchor="ctr"/>
            <a:lstStyle/>
            <a:p>
              <a:pPr marL="0" marR="0" lvl="0" indent="0" algn="ctr" defTabSz="91432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B2DFE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0616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D8A4C6-3589-4E99-86F9-BED08ECB15F7}" type="datetimeFigureOut">
              <a:rPr lang="ko-KR" altLang="en-US" smtClean="0"/>
              <a:t>2024-07-13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E251EEE-79E6-44DD-97C1-316CC0D6C2C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09934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85" r:id="rId3"/>
    <p:sldLayoutId id="2147483686" r:id="rId4"/>
    <p:sldLayoutId id="2147483687" r:id="rId5"/>
    <p:sldLayoutId id="2147483688" r:id="rId6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Relationship Id="rId9" Type="http://schemas.openxmlformats.org/officeDocument/2006/relationships/image" Target="../media/image13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2.jpg"/><Relationship Id="rId4" Type="http://schemas.openxmlformats.org/officeDocument/2006/relationships/image" Target="../media/image2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12914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내용 개체 틀 4" descr="인간의 얼굴, 사람, 의류, 입술이(가) 표시된 사진&#10;&#10;자동 생성된 설명">
            <a:extLst>
              <a:ext uri="{FF2B5EF4-FFF2-40B4-BE49-F238E27FC236}">
                <a16:creationId xmlns:a16="http://schemas.microsoft.com/office/drawing/2014/main" id="{2BC4C439-94AB-55BF-BC42-A88CBD1C54D7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 rotWithShape="1">
          <a:blip r:embed="rId2"/>
          <a:srcRect t="8573" b="16429"/>
          <a:stretch/>
        </p:blipFill>
        <p:spPr>
          <a:xfrm>
            <a:off x="1727200" y="3202002"/>
            <a:ext cx="1079500" cy="1079471"/>
          </a:xfrm>
          <a:prstGeom prst="flowChartConnector">
            <a:avLst/>
          </a:prstGeom>
          <a:ln>
            <a:solidFill>
              <a:srgbClr val="F4F4F4"/>
            </a:solidFill>
          </a:ln>
        </p:spPr>
      </p:pic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809F839A-CC5E-30FF-0E8E-6B462B246F7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130410-0A2F-41CB-B223-A1672F0EE241}" type="slidenum">
              <a:rPr lang="ko-KR" altLang="en-US" smtClean="0"/>
              <a:pPr>
                <a:defRPr/>
              </a:pPr>
              <a:t>10</a:t>
            </a:fld>
            <a:endParaRPr lang="ko-KR" altLang="en-US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FE41F813-4DBF-5A77-6C5F-9FA29BA7F66D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/>
          </a:bodyPr>
          <a:lstStyle/>
          <a:p>
            <a:pPr algn="l"/>
            <a:r>
              <a:rPr lang="ko-KR" altLang="en-US" sz="1100" dirty="0"/>
              <a:t>박민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219C3B62-607C-C3F5-41E5-A2BBCFF7B1C8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algn="l"/>
            <a:r>
              <a:rPr lang="ko-KR" altLang="en-US" dirty="0" err="1"/>
              <a:t>멘딕스사업팀</a:t>
            </a:r>
            <a:r>
              <a:rPr lang="en-US" altLang="ko-KR" dirty="0"/>
              <a:t>/</a:t>
            </a:r>
            <a:r>
              <a:rPr lang="ko-KR" altLang="en-US" dirty="0"/>
              <a:t>팀장</a:t>
            </a:r>
          </a:p>
        </p:txBody>
      </p:sp>
      <p:sp>
        <p:nvSpPr>
          <p:cNvPr id="5" name="내용 개체 틀 4">
            <a:extLst>
              <a:ext uri="{FF2B5EF4-FFF2-40B4-BE49-F238E27FC236}">
                <a16:creationId xmlns:a16="http://schemas.microsoft.com/office/drawing/2014/main" id="{14A8FB67-8DE2-BEE1-BCBC-35A8248B32A4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algn="l"/>
            <a:r>
              <a:rPr lang="en-US" altLang="ko-KR" dirty="0"/>
              <a:t>010-4621-7405</a:t>
            </a:r>
            <a:endParaRPr lang="ko-KR" altLang="en-US" dirty="0"/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E29675FC-CDEF-286D-21D9-B08C1EECD6B9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algn="l"/>
            <a:r>
              <a:rPr lang="en-US" altLang="ko-KR" dirty="0"/>
              <a:t>Minji.park@vanguardlab.net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534114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>
            <a:extLst>
              <a:ext uri="{FF2B5EF4-FFF2-40B4-BE49-F238E27FC236}">
                <a16:creationId xmlns:a16="http://schemas.microsoft.com/office/drawing/2014/main" id="{56E8862A-9E5C-EDD5-CC79-8B8BE851A19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4996D115-0143-33F6-1D59-CDA5BBB940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441201"/>
            <a:ext cx="1827213" cy="238967"/>
          </a:xfrm>
        </p:spPr>
        <p:txBody>
          <a:bodyPr/>
          <a:lstStyle/>
          <a:p>
            <a:r>
              <a:rPr lang="ko-KR" altLang="en-US" dirty="0"/>
              <a:t>구축사례</a:t>
            </a:r>
          </a:p>
        </p:txBody>
      </p:sp>
    </p:spTree>
    <p:extLst>
      <p:ext uri="{BB962C8B-B14F-4D97-AF65-F5344CB8AC3E}">
        <p14:creationId xmlns:p14="http://schemas.microsoft.com/office/powerpoint/2010/main" val="6112087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>
            <a:extLst>
              <a:ext uri="{FF2B5EF4-FFF2-40B4-BE49-F238E27FC236}">
                <a16:creationId xmlns:a16="http://schemas.microsoft.com/office/drawing/2014/main" id="{6DECD547-1F6F-DA9E-DB47-6385F8264B6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ko-KR" altLang="en-US" dirty="0"/>
              <a:t>뱅가드랩은 </a:t>
            </a:r>
            <a:r>
              <a:rPr lang="en-US" altLang="ko-KR" dirty="0"/>
              <a:t>2017</a:t>
            </a:r>
            <a:r>
              <a:rPr lang="ko-KR" altLang="en-US" dirty="0"/>
              <a:t>년 설립이래 지난 </a:t>
            </a:r>
            <a:r>
              <a:rPr lang="en-US" altLang="ko-KR" dirty="0"/>
              <a:t>7</a:t>
            </a:r>
            <a:r>
              <a:rPr lang="ko-KR" altLang="en-US" dirty="0"/>
              <a:t>년간 은행카드 등의 보고서 시스템</a:t>
            </a:r>
            <a:r>
              <a:rPr lang="en-US" altLang="ko-KR" dirty="0"/>
              <a:t>, </a:t>
            </a:r>
            <a:r>
              <a:rPr lang="ko-KR" altLang="en-US" dirty="0"/>
              <a:t>연결회계시스템</a:t>
            </a:r>
            <a:r>
              <a:rPr lang="en-US" altLang="ko-KR" dirty="0"/>
              <a:t>, </a:t>
            </a:r>
            <a:r>
              <a:rPr lang="ko-KR" altLang="en-US" dirty="0"/>
              <a:t>정보계 고도화 등 금융 분야와 </a:t>
            </a:r>
            <a:r>
              <a:rPr lang="en-US" altLang="ko-KR" dirty="0"/>
              <a:t>ERP </a:t>
            </a:r>
            <a:r>
              <a:rPr lang="ko-KR" altLang="en-US" dirty="0"/>
              <a:t>시스템 </a:t>
            </a:r>
            <a:r>
              <a:rPr lang="en-US" altLang="ko-KR" dirty="0"/>
              <a:t>, PI/ISP </a:t>
            </a:r>
            <a:r>
              <a:rPr lang="ko-KR" altLang="en-US" dirty="0"/>
              <a:t>등 비 금융 분야에서 고객에게 다양한 서비스를 제공하고 있는 </a:t>
            </a:r>
            <a:r>
              <a:rPr lang="en-US" altLang="ko-KR" dirty="0"/>
              <a:t>IT </a:t>
            </a:r>
            <a:r>
              <a:rPr lang="ko-KR" altLang="en-US" dirty="0"/>
              <a:t>전문 기업입니다</a:t>
            </a:r>
            <a:r>
              <a:rPr lang="en-US" altLang="ko-KR" dirty="0"/>
              <a:t>.</a:t>
            </a:r>
          </a:p>
          <a:p>
            <a:endParaRPr lang="ko-KR" altLang="en-US" dirty="0"/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8EABB75E-6874-DEB9-3678-69647912AB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441233"/>
            <a:ext cx="1827213" cy="238902"/>
          </a:xfrm>
        </p:spPr>
        <p:txBody>
          <a:bodyPr/>
          <a:lstStyle/>
          <a:p>
            <a:r>
              <a:rPr lang="en-US" altLang="ko-KR" dirty="0"/>
              <a:t>OVERVIEW</a:t>
            </a:r>
            <a:endParaRPr lang="ko-KR" altLang="en-US" dirty="0"/>
          </a:p>
        </p:txBody>
      </p:sp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7F2CEBDC-692D-8EFB-C528-7643129342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1366423"/>
              </p:ext>
            </p:extLst>
          </p:nvPr>
        </p:nvGraphicFramePr>
        <p:xfrm>
          <a:off x="344485" y="1782621"/>
          <a:ext cx="9217031" cy="12975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6719">
                  <a:extLst>
                    <a:ext uri="{9D8B030D-6E8A-4147-A177-3AD203B41FA5}">
                      <a16:colId xmlns:a16="http://schemas.microsoft.com/office/drawing/2014/main" val="218086356"/>
                    </a:ext>
                  </a:extLst>
                </a:gridCol>
                <a:gridCol w="3950156">
                  <a:extLst>
                    <a:ext uri="{9D8B030D-6E8A-4147-A177-3AD203B41FA5}">
                      <a16:colId xmlns:a16="http://schemas.microsoft.com/office/drawing/2014/main" val="2088942305"/>
                    </a:ext>
                  </a:extLst>
                </a:gridCol>
                <a:gridCol w="1316719">
                  <a:extLst>
                    <a:ext uri="{9D8B030D-6E8A-4147-A177-3AD203B41FA5}">
                      <a16:colId xmlns:a16="http://schemas.microsoft.com/office/drawing/2014/main" val="2482528173"/>
                    </a:ext>
                  </a:extLst>
                </a:gridCol>
                <a:gridCol w="2633437">
                  <a:extLst>
                    <a:ext uri="{9D8B030D-6E8A-4147-A177-3AD203B41FA5}">
                      <a16:colId xmlns:a16="http://schemas.microsoft.com/office/drawing/2014/main" val="1721859101"/>
                    </a:ext>
                  </a:extLst>
                </a:gridCol>
              </a:tblGrid>
              <a:tr h="43252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나눔스퀘어 네오 Regular" panose="00000500000000000000" pitchFamily="2" charset="-127"/>
                          <a:ea typeface="나눔스퀘어 네오 Regular" panose="00000500000000000000" pitchFamily="2" charset="-127"/>
                        </a:rPr>
                        <a:t>회사명</a:t>
                      </a:r>
                    </a:p>
                  </a:txBody>
                  <a:tcPr anchor="ctr">
                    <a:lnL w="6350" cap="flat" cmpd="sng" algn="ctr">
                      <a:solidFill>
                        <a:srgbClr val="4066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066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E4F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4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E4F5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스퀘어 네오 Regular" panose="00000500000000000000" pitchFamily="2" charset="-127"/>
                          <a:ea typeface="나눔스퀘어 네오 Regular" panose="00000500000000000000" pitchFamily="2" charset="-127"/>
                        </a:rPr>
                        <a:t>㈜뱅가드랩</a:t>
                      </a:r>
                    </a:p>
                  </a:txBody>
                  <a:tcPr anchor="ctr">
                    <a:lnL w="6350" cap="flat" cmpd="sng" algn="ctr">
                      <a:solidFill>
                        <a:srgbClr val="4066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066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E4F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4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나눔스퀘어 네오 Regular" panose="00000500000000000000" pitchFamily="2" charset="-127"/>
                          <a:ea typeface="나눔스퀘어 네오 Regular" panose="00000500000000000000" pitchFamily="2" charset="-127"/>
                        </a:rPr>
                        <a:t>대표자</a:t>
                      </a:r>
                    </a:p>
                  </a:txBody>
                  <a:tcPr anchor="ctr">
                    <a:lnL w="6350" cap="flat" cmpd="sng" algn="ctr">
                      <a:solidFill>
                        <a:srgbClr val="4066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066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E4F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4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E4F5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스퀘어 네오 Regular" panose="00000500000000000000" pitchFamily="2" charset="-127"/>
                          <a:ea typeface="나눔스퀘어 네오 Regular" panose="00000500000000000000" pitchFamily="2" charset="-127"/>
                        </a:rPr>
                        <a:t>김종영</a:t>
                      </a:r>
                    </a:p>
                  </a:txBody>
                  <a:tcPr anchor="ctr">
                    <a:lnL w="6350" cap="flat" cmpd="sng" algn="ctr">
                      <a:solidFill>
                        <a:srgbClr val="4066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E4F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4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6201472"/>
                  </a:ext>
                </a:extLst>
              </a:tr>
              <a:tr h="43252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나눔스퀘어 네오 Regular" panose="00000500000000000000" pitchFamily="2" charset="-127"/>
                          <a:ea typeface="나눔스퀘어 네오 Regular" panose="00000500000000000000" pitchFamily="2" charset="-127"/>
                        </a:rPr>
                        <a:t>주소</a:t>
                      </a:r>
                    </a:p>
                  </a:txBody>
                  <a:tcPr anchor="ctr">
                    <a:lnL w="6350" cap="flat" cmpd="sng" algn="ctr">
                      <a:solidFill>
                        <a:srgbClr val="4066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066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4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4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E4F5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스퀘어 네오 Regular" panose="00000500000000000000" pitchFamily="2" charset="-127"/>
                          <a:ea typeface="나눔스퀘어 네오 Regular" panose="00000500000000000000" pitchFamily="2" charset="-127"/>
                        </a:rPr>
                        <a:t>서울시 구로구 디지털로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스퀘어 네오 Regular" panose="00000500000000000000" pitchFamily="2" charset="-127"/>
                          <a:ea typeface="나눔스퀘어 네오 Regular" panose="00000500000000000000" pitchFamily="2" charset="-127"/>
                        </a:rPr>
                        <a:t>32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스퀘어 네오 Regular" panose="00000500000000000000" pitchFamily="2" charset="-127"/>
                          <a:ea typeface="나눔스퀘어 네오 Regular" panose="00000500000000000000" pitchFamily="2" charset="-127"/>
                        </a:rPr>
                        <a:t>길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스퀘어 네오 Regular" panose="00000500000000000000" pitchFamily="2" charset="-127"/>
                          <a:ea typeface="나눔스퀘어 네오 Regular" panose="00000500000000000000" pitchFamily="2" charset="-127"/>
                        </a:rPr>
                        <a:t>30, 1201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스퀘어 네오 Regular" panose="00000500000000000000" pitchFamily="2" charset="-127"/>
                          <a:ea typeface="나눔스퀘어 네오 Regular" panose="00000500000000000000" pitchFamily="2" charset="-127"/>
                        </a:rPr>
                        <a:t>호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스퀘어 네오 Regular" panose="00000500000000000000" pitchFamily="2" charset="-127"/>
                          <a:ea typeface="나눔스퀘어 네오 Regular" panose="00000500000000000000" pitchFamily="2" charset="-127"/>
                        </a:rPr>
                        <a:t>(</a:t>
                      </a:r>
                      <a:r>
                        <a:rPr lang="ko-KR" altLang="en-US" sz="1200" b="0" dirty="0" err="1">
                          <a:solidFill>
                            <a:schemeClr val="tx1"/>
                          </a:solidFill>
                          <a:latin typeface="나눔스퀘어 네오 Regular" panose="00000500000000000000" pitchFamily="2" charset="-127"/>
                          <a:ea typeface="나눔스퀘어 네오 Regular" panose="00000500000000000000" pitchFamily="2" charset="-127"/>
                        </a:rPr>
                        <a:t>코오롱디지털타워빌란트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스퀘어 네오 Regular" panose="00000500000000000000" pitchFamily="2" charset="-127"/>
                          <a:ea typeface="나눔스퀘어 네오 Regular" panose="00000500000000000000" pitchFamily="2" charset="-127"/>
                        </a:rPr>
                        <a:t>1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스퀘어 네오 Regular" panose="00000500000000000000" pitchFamily="2" charset="-127"/>
                          <a:ea typeface="나눔스퀘어 네오 Regular" panose="00000500000000000000" pitchFamily="2" charset="-127"/>
                        </a:rPr>
                        <a:t>차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스퀘어 네오 Regular" panose="00000500000000000000" pitchFamily="2" charset="-127"/>
                          <a:ea typeface="나눔스퀘어 네오 Regular" panose="00000500000000000000" pitchFamily="2" charset="-127"/>
                        </a:rPr>
                        <a:t>)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나눔스퀘어 네오 Regular" panose="00000500000000000000" pitchFamily="2" charset="-127"/>
                        <a:ea typeface="나눔스퀘어 네오 Regular" panose="00000500000000000000" pitchFamily="2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4066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4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4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0044338"/>
                  </a:ext>
                </a:extLst>
              </a:tr>
              <a:tr h="43252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나눔스퀘어 네오 Regular" panose="00000500000000000000" pitchFamily="2" charset="-127"/>
                          <a:ea typeface="나눔스퀘어 네오 Regular" panose="00000500000000000000" pitchFamily="2" charset="-127"/>
                        </a:rPr>
                        <a:t>전화 번호</a:t>
                      </a:r>
                    </a:p>
                  </a:txBody>
                  <a:tcPr anchor="ctr">
                    <a:lnL w="6350" cap="flat" cmpd="sng" algn="ctr">
                      <a:solidFill>
                        <a:srgbClr val="4066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066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4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E4F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E4F5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스퀘어 네오 Regular" panose="00000500000000000000" pitchFamily="2" charset="-127"/>
                          <a:ea typeface="나눔스퀘어 네오 Regular" panose="00000500000000000000" pitchFamily="2" charset="-127"/>
                        </a:rPr>
                        <a:t>02-2103-5567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나눔스퀘어 네오 Regular" panose="00000500000000000000" pitchFamily="2" charset="-127"/>
                        <a:ea typeface="나눔스퀘어 네오 Regular" panose="00000500000000000000" pitchFamily="2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4066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066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4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E4F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나눔스퀘어 네오 Regular" panose="00000500000000000000" pitchFamily="2" charset="-127"/>
                          <a:ea typeface="나눔스퀘어 네오 Regular" panose="00000500000000000000" pitchFamily="2" charset="-127"/>
                        </a:rPr>
                        <a:t>설립년도</a:t>
                      </a:r>
                    </a:p>
                  </a:txBody>
                  <a:tcPr anchor="ctr">
                    <a:lnL w="6350" cap="flat" cmpd="sng" algn="ctr">
                      <a:solidFill>
                        <a:srgbClr val="4066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066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4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E4F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E4F5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스퀘어 네오 Regular" panose="00000500000000000000" pitchFamily="2" charset="-127"/>
                          <a:ea typeface="나눔스퀘어 네오 Regular" panose="00000500000000000000" pitchFamily="2" charset="-127"/>
                        </a:rPr>
                        <a:t>2017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스퀘어 네오 Regular" panose="00000500000000000000" pitchFamily="2" charset="-127"/>
                          <a:ea typeface="나눔스퀘어 네오 Regular" panose="00000500000000000000" pitchFamily="2" charset="-127"/>
                        </a:rPr>
                        <a:t>년 </a:t>
                      </a:r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스퀘어 네오 Regular" panose="00000500000000000000" pitchFamily="2" charset="-127"/>
                          <a:ea typeface="나눔스퀘어 네오 Regular" panose="00000500000000000000" pitchFamily="2" charset="-127"/>
                        </a:rPr>
                        <a:t>10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스퀘어 네오 Regular" panose="00000500000000000000" pitchFamily="2" charset="-127"/>
                          <a:ea typeface="나눔스퀘어 네오 Regular" panose="00000500000000000000" pitchFamily="2" charset="-127"/>
                        </a:rPr>
                        <a:t>월</a:t>
                      </a:r>
                    </a:p>
                  </a:txBody>
                  <a:tcPr anchor="ctr">
                    <a:lnL w="6350" cap="flat" cmpd="sng" algn="ctr">
                      <a:solidFill>
                        <a:srgbClr val="4066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4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E4F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7137749"/>
                  </a:ext>
                </a:extLst>
              </a:tr>
            </a:tbl>
          </a:graphicData>
        </a:graphic>
      </p:graphicFrame>
      <p:grpSp>
        <p:nvGrpSpPr>
          <p:cNvPr id="5" name="그룹 4">
            <a:extLst>
              <a:ext uri="{FF2B5EF4-FFF2-40B4-BE49-F238E27FC236}">
                <a16:creationId xmlns:a16="http://schemas.microsoft.com/office/drawing/2014/main" id="{7C4397F2-E586-5B77-DC28-D1EA55932EE5}"/>
              </a:ext>
            </a:extLst>
          </p:cNvPr>
          <p:cNvGrpSpPr/>
          <p:nvPr/>
        </p:nvGrpSpPr>
        <p:grpSpPr>
          <a:xfrm>
            <a:off x="344485" y="3433765"/>
            <a:ext cx="9217030" cy="2916237"/>
            <a:chOff x="344483" y="3500438"/>
            <a:chExt cx="9180522" cy="2916237"/>
          </a:xfrm>
        </p:grpSpPr>
        <p:sp>
          <p:nvSpPr>
            <p:cNvPr id="6" name="Rectangle 33">
              <a:extLst>
                <a:ext uri="{FF2B5EF4-FFF2-40B4-BE49-F238E27FC236}">
                  <a16:creationId xmlns:a16="http://schemas.microsoft.com/office/drawing/2014/main" id="{0FAE3855-8946-FCD0-D2F8-B83C1C5F72C9}"/>
                </a:ext>
              </a:extLst>
            </p:cNvPr>
            <p:cNvSpPr/>
            <p:nvPr/>
          </p:nvSpPr>
          <p:spPr>
            <a:xfrm>
              <a:off x="344488" y="3500438"/>
              <a:ext cx="2973374" cy="465029"/>
            </a:xfrm>
            <a:prstGeom prst="rect">
              <a:avLst/>
            </a:prstGeom>
            <a:solidFill>
              <a:srgbClr val="4E4F50"/>
            </a:solidFill>
            <a:ln w="19050" cap="flat" cmpd="sng" algn="ctr">
              <a:solidFill>
                <a:srgbClr val="4E4F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86">
                <a:defRPr/>
              </a:pPr>
              <a:r>
                <a:rPr lang="ko-KR" altLang="en-US" sz="1400" b="1" kern="0" dirty="0">
                  <a:solidFill>
                    <a:schemeClr val="bg1"/>
                  </a:solidFill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핵심 역량</a:t>
              </a:r>
            </a:p>
          </p:txBody>
        </p:sp>
        <p:sp>
          <p:nvSpPr>
            <p:cNvPr id="7" name="Rectangle 33">
              <a:extLst>
                <a:ext uri="{FF2B5EF4-FFF2-40B4-BE49-F238E27FC236}">
                  <a16:creationId xmlns:a16="http://schemas.microsoft.com/office/drawing/2014/main" id="{39F4A0CD-93B6-5F84-9362-D97CB13FEA6F}"/>
                </a:ext>
              </a:extLst>
            </p:cNvPr>
            <p:cNvSpPr/>
            <p:nvPr/>
          </p:nvSpPr>
          <p:spPr>
            <a:xfrm>
              <a:off x="344483" y="3965467"/>
              <a:ext cx="2973374" cy="2451208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4E4F50"/>
              </a:solidFill>
              <a:prstDash val="solid"/>
              <a:miter lim="800000"/>
            </a:ln>
            <a:effectLst/>
          </p:spPr>
          <p:txBody>
            <a:bodyPr tIns="144000" rtlCol="0" anchor="t"/>
            <a:lstStyle/>
            <a:p>
              <a:pPr marL="171450" indent="-171450" defTabSz="914286">
                <a:spcBef>
                  <a:spcPts val="1200"/>
                </a:spcBef>
                <a:buFont typeface="Wingdings" panose="05000000000000000000" pitchFamily="2" charset="2"/>
                <a:buChar char="v"/>
                <a:defRPr/>
              </a:pPr>
              <a:r>
                <a:rPr lang="ko-KR" altLang="en-US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금융 및 비 금융 전문 컨설턴트</a:t>
              </a:r>
              <a:endParaRPr lang="en-US" altLang="ko-KR" sz="1300" kern="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</a:endParaRPr>
            </a:p>
            <a:p>
              <a:pPr marL="171450" indent="-171450" defTabSz="914286">
                <a:spcBef>
                  <a:spcPts val="1200"/>
                </a:spcBef>
                <a:buFont typeface="Wingdings" panose="05000000000000000000" pitchFamily="2" charset="2"/>
                <a:buChar char="v"/>
                <a:defRPr/>
              </a:pPr>
              <a:r>
                <a:rPr lang="ko-KR" altLang="en-US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자체 솔루션 연구 및 개발 역량</a:t>
              </a:r>
              <a:endParaRPr lang="en-US" altLang="ko-KR" sz="1300" kern="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</a:endParaRPr>
            </a:p>
            <a:p>
              <a:pPr marL="171450" indent="-171450" defTabSz="914286">
                <a:spcBef>
                  <a:spcPts val="1200"/>
                </a:spcBef>
                <a:buFont typeface="Wingdings" panose="05000000000000000000" pitchFamily="2" charset="2"/>
                <a:buChar char="v"/>
                <a:defRPr/>
              </a:pPr>
              <a:r>
                <a:rPr lang="ko-KR" altLang="en-US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전문</a:t>
              </a:r>
              <a:r>
                <a:rPr lang="en-US" altLang="ko-KR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/</a:t>
              </a:r>
              <a:r>
                <a:rPr lang="ko-KR" altLang="en-US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자체 인력을 통한 </a:t>
              </a:r>
              <a:r>
                <a:rPr lang="en-US" altLang="ko-KR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ITO </a:t>
              </a:r>
              <a:r>
                <a:rPr lang="ko-KR" altLang="en-US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서비스</a:t>
              </a:r>
              <a:endParaRPr lang="en-US" altLang="ko-KR" sz="1300" kern="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</a:endParaRPr>
            </a:p>
            <a:p>
              <a:pPr marL="171450" indent="-171450" defTabSz="914286">
                <a:spcBef>
                  <a:spcPts val="1200"/>
                </a:spcBef>
                <a:buFont typeface="Wingdings" panose="05000000000000000000" pitchFamily="2" charset="2"/>
                <a:buChar char="v"/>
                <a:defRPr/>
              </a:pPr>
              <a:r>
                <a:rPr lang="ko-KR" altLang="en-US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전문 </a:t>
              </a:r>
              <a:r>
                <a:rPr lang="en-US" altLang="ko-KR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PMO </a:t>
              </a:r>
              <a:r>
                <a:rPr lang="ko-KR" altLang="en-US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인력을 통한 프로젝트</a:t>
              </a:r>
              <a:endParaRPr lang="en-US" altLang="ko-KR" sz="1300" kern="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</a:endParaRPr>
            </a:p>
            <a:p>
              <a:pPr defTabSz="914286">
                <a:spcBef>
                  <a:spcPts val="1200"/>
                </a:spcBef>
                <a:defRPr/>
              </a:pPr>
              <a:r>
                <a:rPr lang="en-US" altLang="ko-KR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   </a:t>
              </a:r>
              <a:r>
                <a:rPr lang="ko-KR" altLang="en-US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진행 및 관리</a:t>
              </a:r>
              <a:endParaRPr lang="en-US" altLang="ko-KR" sz="1300" kern="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</a:endParaRPr>
            </a:p>
          </p:txBody>
        </p:sp>
        <p:sp>
          <p:nvSpPr>
            <p:cNvPr id="8" name="Rectangle 33">
              <a:extLst>
                <a:ext uri="{FF2B5EF4-FFF2-40B4-BE49-F238E27FC236}">
                  <a16:creationId xmlns:a16="http://schemas.microsoft.com/office/drawing/2014/main" id="{2BF3E6DF-7E58-E8C8-35DA-EC0BE0E83E11}"/>
                </a:ext>
              </a:extLst>
            </p:cNvPr>
            <p:cNvSpPr/>
            <p:nvPr/>
          </p:nvSpPr>
          <p:spPr>
            <a:xfrm>
              <a:off x="3448059" y="3500438"/>
              <a:ext cx="2973374" cy="465029"/>
            </a:xfrm>
            <a:prstGeom prst="rect">
              <a:avLst/>
            </a:prstGeom>
            <a:solidFill>
              <a:srgbClr val="4E4F50"/>
            </a:solidFill>
            <a:ln w="19050" cap="flat" cmpd="sng" algn="ctr">
              <a:solidFill>
                <a:srgbClr val="4E4F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86">
                <a:defRPr/>
              </a:pPr>
              <a:r>
                <a:rPr lang="ko-KR" altLang="en-US" sz="1400" b="1" kern="0" dirty="0">
                  <a:solidFill>
                    <a:schemeClr val="bg1"/>
                  </a:solidFill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주요 사업</a:t>
              </a:r>
            </a:p>
          </p:txBody>
        </p:sp>
        <p:sp>
          <p:nvSpPr>
            <p:cNvPr id="9" name="Rectangle 33">
              <a:extLst>
                <a:ext uri="{FF2B5EF4-FFF2-40B4-BE49-F238E27FC236}">
                  <a16:creationId xmlns:a16="http://schemas.microsoft.com/office/drawing/2014/main" id="{7F667F39-0349-023E-9DE8-676FC8318AE5}"/>
                </a:ext>
              </a:extLst>
            </p:cNvPr>
            <p:cNvSpPr/>
            <p:nvPr/>
          </p:nvSpPr>
          <p:spPr>
            <a:xfrm>
              <a:off x="6551631" y="3500438"/>
              <a:ext cx="2973374" cy="465029"/>
            </a:xfrm>
            <a:prstGeom prst="rect">
              <a:avLst/>
            </a:prstGeom>
            <a:solidFill>
              <a:srgbClr val="4E4F50"/>
            </a:solidFill>
            <a:ln w="19050" cap="flat" cmpd="sng" algn="ctr">
              <a:solidFill>
                <a:srgbClr val="4E4F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86">
                <a:defRPr/>
              </a:pPr>
              <a:r>
                <a:rPr lang="ko-KR" altLang="en-US" sz="1400" b="1" kern="0" dirty="0">
                  <a:solidFill>
                    <a:schemeClr val="bg1"/>
                  </a:solidFill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솔루션</a:t>
              </a:r>
            </a:p>
          </p:txBody>
        </p:sp>
        <p:sp>
          <p:nvSpPr>
            <p:cNvPr id="10" name="Rectangle 33">
              <a:extLst>
                <a:ext uri="{FF2B5EF4-FFF2-40B4-BE49-F238E27FC236}">
                  <a16:creationId xmlns:a16="http://schemas.microsoft.com/office/drawing/2014/main" id="{203EB52C-B4DB-FFB1-D967-754FF2F611B8}"/>
                </a:ext>
              </a:extLst>
            </p:cNvPr>
            <p:cNvSpPr/>
            <p:nvPr/>
          </p:nvSpPr>
          <p:spPr>
            <a:xfrm>
              <a:off x="3448053" y="3965467"/>
              <a:ext cx="2973374" cy="2451208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4E4F50"/>
              </a:solidFill>
              <a:prstDash val="solid"/>
              <a:miter lim="800000"/>
            </a:ln>
            <a:effectLst/>
          </p:spPr>
          <p:txBody>
            <a:bodyPr tIns="144000" rtlCol="0" anchor="t"/>
            <a:lstStyle/>
            <a:p>
              <a:pPr marL="171450" indent="-171450" defTabSz="914286">
                <a:spcBef>
                  <a:spcPts val="1200"/>
                </a:spcBef>
                <a:buFont typeface="Wingdings" panose="05000000000000000000" pitchFamily="2" charset="2"/>
                <a:buChar char="v"/>
                <a:defRPr/>
              </a:pPr>
              <a:r>
                <a:rPr lang="en-US" altLang="ko-KR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Mendix </a:t>
              </a:r>
              <a:r>
                <a:rPr lang="ko-KR" altLang="en-US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사업</a:t>
              </a:r>
              <a:r>
                <a:rPr lang="en-US" altLang="ko-KR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 </a:t>
              </a:r>
            </a:p>
            <a:p>
              <a:pPr marL="171450" indent="-171450" defTabSz="914286">
                <a:spcBef>
                  <a:spcPts val="1200"/>
                </a:spcBef>
                <a:buFont typeface="Wingdings" panose="05000000000000000000" pitchFamily="2" charset="2"/>
                <a:buChar char="v"/>
                <a:defRPr/>
              </a:pPr>
              <a:r>
                <a:rPr lang="ko-KR" altLang="en-US" sz="1300" kern="0" dirty="0" err="1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기간계</a:t>
              </a:r>
              <a:r>
                <a:rPr lang="ko-KR" altLang="en-US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 시스템 </a:t>
              </a:r>
              <a:r>
                <a:rPr lang="en-US" altLang="ko-KR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SI </a:t>
              </a:r>
              <a:r>
                <a:rPr lang="ko-KR" altLang="en-US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구축 프로젝트</a:t>
              </a:r>
              <a:r>
                <a:rPr lang="en-US" altLang="ko-KR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 </a:t>
              </a:r>
            </a:p>
            <a:p>
              <a:pPr marL="171450" indent="-171450" defTabSz="914286">
                <a:spcBef>
                  <a:spcPts val="1200"/>
                </a:spcBef>
                <a:buFont typeface="Wingdings" panose="05000000000000000000" pitchFamily="2" charset="2"/>
                <a:buChar char="v"/>
                <a:defRPr/>
              </a:pPr>
              <a:r>
                <a:rPr lang="ko-KR" altLang="en-US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정보계 </a:t>
              </a:r>
              <a:r>
                <a:rPr lang="en-US" altLang="ko-KR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DW </a:t>
              </a:r>
              <a:r>
                <a:rPr lang="ko-KR" altLang="en-US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및 차세대 시스템</a:t>
              </a:r>
              <a:endParaRPr lang="en-US" altLang="ko-KR" sz="1300" kern="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</a:endParaRPr>
            </a:p>
            <a:p>
              <a:pPr marL="171450" indent="-171450" defTabSz="914286">
                <a:spcBef>
                  <a:spcPts val="1200"/>
                </a:spcBef>
                <a:buFont typeface="Wingdings" panose="05000000000000000000" pitchFamily="2" charset="2"/>
                <a:buChar char="v"/>
                <a:defRPr/>
              </a:pPr>
              <a:r>
                <a:rPr lang="ko-KR" altLang="en-US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연결회계 시스템</a:t>
              </a:r>
              <a:endParaRPr lang="en-US" altLang="ko-KR" sz="1300" kern="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</a:endParaRPr>
            </a:p>
            <a:p>
              <a:pPr marL="171450" indent="-171450" defTabSz="914286">
                <a:spcBef>
                  <a:spcPts val="1200"/>
                </a:spcBef>
                <a:buFont typeface="Wingdings" panose="05000000000000000000" pitchFamily="2" charset="2"/>
                <a:buChar char="v"/>
                <a:defRPr/>
              </a:pPr>
              <a:r>
                <a:rPr lang="en-US" altLang="ko-KR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ERP </a:t>
              </a:r>
              <a:r>
                <a:rPr lang="ko-KR" altLang="en-US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등 솔루션 컨설팅 </a:t>
              </a:r>
              <a:endParaRPr lang="en-US" altLang="ko-KR" sz="1300" kern="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</a:endParaRPr>
            </a:p>
            <a:p>
              <a:pPr marL="171450" indent="-171450" defTabSz="914286">
                <a:spcBef>
                  <a:spcPts val="1200"/>
                </a:spcBef>
                <a:buFont typeface="Wingdings" panose="05000000000000000000" pitchFamily="2" charset="2"/>
                <a:buChar char="v"/>
                <a:defRPr/>
              </a:pPr>
              <a:r>
                <a:rPr lang="en-US" altLang="ko-KR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ITO</a:t>
              </a:r>
              <a:r>
                <a:rPr lang="ko-KR" altLang="en-US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 서비스</a:t>
              </a:r>
              <a:r>
                <a:rPr lang="en-US" altLang="ko-KR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(IT </a:t>
              </a:r>
              <a:r>
                <a:rPr lang="ko-KR" altLang="en-US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운영 및 관리</a:t>
              </a:r>
              <a:r>
                <a:rPr lang="en-US" altLang="ko-KR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)</a:t>
              </a:r>
            </a:p>
          </p:txBody>
        </p:sp>
        <p:sp>
          <p:nvSpPr>
            <p:cNvPr id="11" name="Rectangle 33">
              <a:extLst>
                <a:ext uri="{FF2B5EF4-FFF2-40B4-BE49-F238E27FC236}">
                  <a16:creationId xmlns:a16="http://schemas.microsoft.com/office/drawing/2014/main" id="{5C48E309-4159-0A06-CF22-E7DACC8AA457}"/>
                </a:ext>
              </a:extLst>
            </p:cNvPr>
            <p:cNvSpPr/>
            <p:nvPr/>
          </p:nvSpPr>
          <p:spPr>
            <a:xfrm>
              <a:off x="6551618" y="3965467"/>
              <a:ext cx="2973374" cy="2451208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4E4F50"/>
              </a:solidFill>
              <a:prstDash val="solid"/>
              <a:miter lim="800000"/>
            </a:ln>
            <a:effectLst/>
          </p:spPr>
          <p:txBody>
            <a:bodyPr tIns="144000" rtlCol="0" anchor="t"/>
            <a:lstStyle/>
            <a:p>
              <a:pPr marL="171450" indent="-171450" defTabSz="914286">
                <a:spcBef>
                  <a:spcPts val="1200"/>
                </a:spcBef>
                <a:buFont typeface="Wingdings" panose="05000000000000000000" pitchFamily="2" charset="2"/>
                <a:buChar char="v"/>
                <a:defRPr/>
              </a:pPr>
              <a:r>
                <a:rPr lang="ko-KR" altLang="en-US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글로벌 대외 보고서</a:t>
              </a:r>
              <a:endParaRPr lang="en-US" altLang="ko-KR" sz="1300" kern="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</a:endParaRPr>
            </a:p>
            <a:p>
              <a:pPr marL="171450" indent="-171450" defTabSz="914286">
                <a:spcBef>
                  <a:spcPts val="1200"/>
                </a:spcBef>
                <a:buFont typeface="Wingdings" panose="05000000000000000000" pitchFamily="2" charset="2"/>
                <a:buChar char="v"/>
                <a:defRPr/>
              </a:pPr>
              <a:r>
                <a:rPr lang="en-US" altLang="ko-KR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Smart Report</a:t>
              </a:r>
            </a:p>
            <a:p>
              <a:pPr marL="171450" indent="-171450" defTabSz="914286">
                <a:spcBef>
                  <a:spcPts val="1200"/>
                </a:spcBef>
                <a:buFont typeface="Wingdings" panose="05000000000000000000" pitchFamily="2" charset="2"/>
                <a:buChar char="v"/>
                <a:defRPr/>
              </a:pPr>
              <a:r>
                <a:rPr lang="en-US" altLang="ko-KR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BI Matrix , Power BI</a:t>
              </a:r>
            </a:p>
            <a:p>
              <a:pPr marL="171450" indent="-171450" defTabSz="914286">
                <a:spcBef>
                  <a:spcPts val="1200"/>
                </a:spcBef>
                <a:buFont typeface="Wingdings" panose="05000000000000000000" pitchFamily="2" charset="2"/>
                <a:buChar char="v"/>
                <a:defRPr/>
              </a:pPr>
              <a:r>
                <a:rPr lang="ko-KR" altLang="en-US" sz="1300" kern="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표시심의</a:t>
              </a:r>
              <a:endParaRPr lang="en-US" altLang="ko-KR" sz="1300" kern="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</a:endParaRPr>
            </a:p>
            <a:p>
              <a:pPr marL="171450" indent="-171450" defTabSz="914286">
                <a:spcBef>
                  <a:spcPts val="1200"/>
                </a:spcBef>
                <a:buFont typeface="Wingdings" panose="05000000000000000000" pitchFamily="2" charset="2"/>
                <a:buChar char="v"/>
                <a:defRPr/>
              </a:pPr>
              <a:r>
                <a:rPr lang="en-US" altLang="ko-KR" sz="1300" kern="0" dirty="0" err="1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</a:rPr>
                <a:t>ProTextERP</a:t>
              </a:r>
              <a:endParaRPr lang="en-US" altLang="ko-KR" sz="1300" kern="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</a:endParaRPr>
            </a:p>
          </p:txBody>
        </p:sp>
        <p:sp>
          <p:nvSpPr>
            <p:cNvPr id="12" name="Oval 21">
              <a:extLst>
                <a:ext uri="{FF2B5EF4-FFF2-40B4-BE49-F238E27FC236}">
                  <a16:creationId xmlns:a16="http://schemas.microsoft.com/office/drawing/2014/main" id="{3BACDE05-1311-CFFF-62B0-13C4AA4C152A}"/>
                </a:ext>
              </a:extLst>
            </p:cNvPr>
            <p:cNvSpPr>
              <a:spLocks noChangeAspect="1"/>
            </p:cNvSpPr>
            <p:nvPr/>
          </p:nvSpPr>
          <p:spPr>
            <a:xfrm rot="20700000">
              <a:off x="6611911" y="3567543"/>
              <a:ext cx="387594" cy="314845"/>
            </a:xfrm>
            <a:custGeom>
              <a:avLst/>
              <a:gdLst/>
              <a:ahLst/>
              <a:cxnLst/>
              <a:rect l="l" t="t" r="r" b="b"/>
              <a:pathLst>
                <a:path w="4088377" h="3321003">
                  <a:moveTo>
                    <a:pt x="1365628" y="1622218"/>
                  </a:moveTo>
                  <a:cubicBezTo>
                    <a:pt x="1121373" y="1556771"/>
                    <a:pt x="870309" y="1701722"/>
                    <a:pt x="804861" y="1945977"/>
                  </a:cubicBezTo>
                  <a:cubicBezTo>
                    <a:pt x="739413" y="2190232"/>
                    <a:pt x="884365" y="2441296"/>
                    <a:pt x="1128620" y="2506744"/>
                  </a:cubicBezTo>
                  <a:cubicBezTo>
                    <a:pt x="1372875" y="2572191"/>
                    <a:pt x="1623939" y="2427240"/>
                    <a:pt x="1689387" y="2182985"/>
                  </a:cubicBezTo>
                  <a:cubicBezTo>
                    <a:pt x="1754835" y="1938730"/>
                    <a:pt x="1609883" y="1687666"/>
                    <a:pt x="1365628" y="1622218"/>
                  </a:cubicBezTo>
                  <a:close/>
                  <a:moveTo>
                    <a:pt x="1447099" y="1318163"/>
                  </a:moveTo>
                  <a:cubicBezTo>
                    <a:pt x="1859279" y="1428606"/>
                    <a:pt x="2103885" y="1852277"/>
                    <a:pt x="1993442" y="2264456"/>
                  </a:cubicBezTo>
                  <a:cubicBezTo>
                    <a:pt x="1882999" y="2676636"/>
                    <a:pt x="1459328" y="2921242"/>
                    <a:pt x="1047149" y="2810799"/>
                  </a:cubicBezTo>
                  <a:cubicBezTo>
                    <a:pt x="634969" y="2700356"/>
                    <a:pt x="390363" y="2276685"/>
                    <a:pt x="500806" y="1864505"/>
                  </a:cubicBezTo>
                  <a:cubicBezTo>
                    <a:pt x="611249" y="1452326"/>
                    <a:pt x="1034920" y="1207720"/>
                    <a:pt x="1447099" y="1318163"/>
                  </a:cubicBezTo>
                  <a:close/>
                  <a:moveTo>
                    <a:pt x="1476725" y="1207597"/>
                  </a:moveTo>
                  <a:cubicBezTo>
                    <a:pt x="1003481" y="1080792"/>
                    <a:pt x="517045" y="1361635"/>
                    <a:pt x="390240" y="1834879"/>
                  </a:cubicBezTo>
                  <a:cubicBezTo>
                    <a:pt x="263435" y="2308124"/>
                    <a:pt x="544279" y="2794559"/>
                    <a:pt x="1017523" y="2921365"/>
                  </a:cubicBezTo>
                  <a:cubicBezTo>
                    <a:pt x="1490767" y="3048170"/>
                    <a:pt x="1977202" y="2767326"/>
                    <a:pt x="2104008" y="2294082"/>
                  </a:cubicBezTo>
                  <a:cubicBezTo>
                    <a:pt x="2230813" y="1820838"/>
                    <a:pt x="1949969" y="1334403"/>
                    <a:pt x="1476725" y="1207597"/>
                  </a:cubicBezTo>
                  <a:close/>
                  <a:moveTo>
                    <a:pt x="3290290" y="1590224"/>
                  </a:moveTo>
                  <a:cubicBezTo>
                    <a:pt x="3269727" y="1586016"/>
                    <a:pt x="3248437" y="1583806"/>
                    <a:pt x="3226630" y="1583806"/>
                  </a:cubicBezTo>
                  <a:cubicBezTo>
                    <a:pt x="3052179" y="1583806"/>
                    <a:pt x="2910758" y="1725227"/>
                    <a:pt x="2910758" y="1899678"/>
                  </a:cubicBezTo>
                  <a:cubicBezTo>
                    <a:pt x="2910758" y="2074130"/>
                    <a:pt x="3052179" y="2215551"/>
                    <a:pt x="3226630" y="2215550"/>
                  </a:cubicBezTo>
                  <a:cubicBezTo>
                    <a:pt x="3401082" y="2215551"/>
                    <a:pt x="3542503" y="2074130"/>
                    <a:pt x="3542502" y="1899678"/>
                  </a:cubicBezTo>
                  <a:cubicBezTo>
                    <a:pt x="3542503" y="1747033"/>
                    <a:pt x="3434228" y="1619677"/>
                    <a:pt x="3290290" y="1590224"/>
                  </a:cubicBezTo>
                  <a:close/>
                  <a:moveTo>
                    <a:pt x="3334055" y="1377473"/>
                  </a:moveTo>
                  <a:cubicBezTo>
                    <a:pt x="3576950" y="1427177"/>
                    <a:pt x="3759665" y="1642090"/>
                    <a:pt x="3759665" y="1899678"/>
                  </a:cubicBezTo>
                  <a:cubicBezTo>
                    <a:pt x="3759665" y="2194064"/>
                    <a:pt x="3521017" y="2432713"/>
                    <a:pt x="3226630" y="2432713"/>
                  </a:cubicBezTo>
                  <a:cubicBezTo>
                    <a:pt x="2932244" y="2432712"/>
                    <a:pt x="2693596" y="2194065"/>
                    <a:pt x="2693596" y="1899678"/>
                  </a:cubicBezTo>
                  <a:cubicBezTo>
                    <a:pt x="2693596" y="1605292"/>
                    <a:pt x="2932244" y="1366644"/>
                    <a:pt x="3226630" y="1366644"/>
                  </a:cubicBezTo>
                  <a:cubicBezTo>
                    <a:pt x="3263429" y="1366644"/>
                    <a:pt x="3299356" y="1370373"/>
                    <a:pt x="3334055" y="1377473"/>
                  </a:cubicBezTo>
                  <a:close/>
                  <a:moveTo>
                    <a:pt x="1391137" y="789478"/>
                  </a:moveTo>
                  <a:lnTo>
                    <a:pt x="1759910" y="888290"/>
                  </a:lnTo>
                  <a:lnTo>
                    <a:pt x="1754625" y="1202375"/>
                  </a:lnTo>
                  <a:lnTo>
                    <a:pt x="1744979" y="1199790"/>
                  </a:lnTo>
                  <a:cubicBezTo>
                    <a:pt x="1823578" y="1244024"/>
                    <a:pt x="1894617" y="1298265"/>
                    <a:pt x="1954704" y="1362586"/>
                  </a:cubicBezTo>
                  <a:lnTo>
                    <a:pt x="2234317" y="1293059"/>
                  </a:lnTo>
                  <a:lnTo>
                    <a:pt x="2413554" y="1630152"/>
                  </a:lnTo>
                  <a:lnTo>
                    <a:pt x="2214321" y="1809770"/>
                  </a:lnTo>
                  <a:cubicBezTo>
                    <a:pt x="2239296" y="1900740"/>
                    <a:pt x="2251067" y="1995997"/>
                    <a:pt x="2246841" y="2092825"/>
                  </a:cubicBezTo>
                  <a:lnTo>
                    <a:pt x="2495698" y="2230974"/>
                  </a:lnTo>
                  <a:lnTo>
                    <a:pt x="2396885" y="2599747"/>
                  </a:lnTo>
                  <a:lnTo>
                    <a:pt x="2094912" y="2594668"/>
                  </a:lnTo>
                  <a:cubicBezTo>
                    <a:pt x="2056732" y="2658461"/>
                    <a:pt x="2010475" y="2715996"/>
                    <a:pt x="1958644" y="2767359"/>
                  </a:cubicBezTo>
                  <a:lnTo>
                    <a:pt x="2057814" y="3026193"/>
                  </a:lnTo>
                  <a:lnTo>
                    <a:pt x="1745078" y="3245174"/>
                  </a:lnTo>
                  <a:lnTo>
                    <a:pt x="1507869" y="3039237"/>
                  </a:lnTo>
                  <a:lnTo>
                    <a:pt x="1536736" y="3019025"/>
                  </a:lnTo>
                  <a:cubicBezTo>
                    <a:pt x="1445878" y="3048429"/>
                    <a:pt x="1349798" y="3062567"/>
                    <a:pt x="1251837" y="3062021"/>
                  </a:cubicBezTo>
                  <a:lnTo>
                    <a:pt x="1108065" y="3321003"/>
                  </a:lnTo>
                  <a:lnTo>
                    <a:pt x="739291" y="3222191"/>
                  </a:lnTo>
                  <a:lnTo>
                    <a:pt x="744274" y="2926021"/>
                  </a:lnTo>
                  <a:cubicBezTo>
                    <a:pt x="666128" y="2881484"/>
                    <a:pt x="595548" y="2827017"/>
                    <a:pt x="535891" y="2762576"/>
                  </a:cubicBezTo>
                  <a:lnTo>
                    <a:pt x="540671" y="2772825"/>
                  </a:lnTo>
                  <a:lnTo>
                    <a:pt x="232276" y="2832568"/>
                  </a:lnTo>
                  <a:lnTo>
                    <a:pt x="70927" y="2486556"/>
                  </a:lnTo>
                  <a:lnTo>
                    <a:pt x="279495" y="2317444"/>
                  </a:lnTo>
                  <a:cubicBezTo>
                    <a:pt x="257233" y="2235849"/>
                    <a:pt x="245603" y="2150814"/>
                    <a:pt x="245586" y="2064274"/>
                  </a:cubicBezTo>
                  <a:lnTo>
                    <a:pt x="0" y="1927940"/>
                  </a:lnTo>
                  <a:lnTo>
                    <a:pt x="98812" y="1559167"/>
                  </a:lnTo>
                  <a:lnTo>
                    <a:pt x="380240" y="1563901"/>
                  </a:lnTo>
                  <a:cubicBezTo>
                    <a:pt x="418421" y="1496524"/>
                    <a:pt x="464524" y="1435092"/>
                    <a:pt x="516679" y="1380105"/>
                  </a:cubicBezTo>
                  <a:lnTo>
                    <a:pt x="422419" y="1089378"/>
                  </a:lnTo>
                  <a:lnTo>
                    <a:pt x="746189" y="887063"/>
                  </a:lnTo>
                  <a:lnTo>
                    <a:pt x="972292" y="1105134"/>
                  </a:lnTo>
                  <a:lnTo>
                    <a:pt x="970019" y="1106554"/>
                  </a:lnTo>
                  <a:cubicBezTo>
                    <a:pt x="1058903" y="1078586"/>
                    <a:pt x="1152743" y="1065659"/>
                    <a:pt x="1248316" y="1066709"/>
                  </a:cubicBezTo>
                  <a:lnTo>
                    <a:pt x="1238669" y="1064125"/>
                  </a:lnTo>
                  <a:close/>
                  <a:moveTo>
                    <a:pt x="3349970" y="1300109"/>
                  </a:moveTo>
                  <a:cubicBezTo>
                    <a:pt x="3310130" y="1291957"/>
                    <a:pt x="3268880" y="1287676"/>
                    <a:pt x="3226630" y="1287676"/>
                  </a:cubicBezTo>
                  <a:cubicBezTo>
                    <a:pt x="2888631" y="1287676"/>
                    <a:pt x="2614628" y="1561679"/>
                    <a:pt x="2614628" y="1899678"/>
                  </a:cubicBezTo>
                  <a:cubicBezTo>
                    <a:pt x="2614628" y="2237678"/>
                    <a:pt x="2888630" y="2511680"/>
                    <a:pt x="3226630" y="2511681"/>
                  </a:cubicBezTo>
                  <a:cubicBezTo>
                    <a:pt x="3564630" y="2511681"/>
                    <a:pt x="3838633" y="2237678"/>
                    <a:pt x="3838633" y="1899678"/>
                  </a:cubicBezTo>
                  <a:cubicBezTo>
                    <a:pt x="3838632" y="1603928"/>
                    <a:pt x="3628849" y="1357176"/>
                    <a:pt x="3349970" y="1300109"/>
                  </a:cubicBezTo>
                  <a:close/>
                  <a:moveTo>
                    <a:pt x="3358324" y="1024334"/>
                  </a:moveTo>
                  <a:lnTo>
                    <a:pt x="3410883" y="1234575"/>
                  </a:lnTo>
                  <a:lnTo>
                    <a:pt x="3403994" y="1234575"/>
                  </a:lnTo>
                  <a:cubicBezTo>
                    <a:pt x="3464268" y="1250018"/>
                    <a:pt x="3521292" y="1273478"/>
                    <a:pt x="3572818" y="1305612"/>
                  </a:cubicBezTo>
                  <a:lnTo>
                    <a:pt x="3746730" y="1209354"/>
                  </a:lnTo>
                  <a:lnTo>
                    <a:pt x="3926358" y="1401981"/>
                  </a:lnTo>
                  <a:lnTo>
                    <a:pt x="3825667" y="1557247"/>
                  </a:lnTo>
                  <a:cubicBezTo>
                    <a:pt x="3858552" y="1613408"/>
                    <a:pt x="3883404" y="1674784"/>
                    <a:pt x="3897877" y="1740062"/>
                  </a:cubicBezTo>
                  <a:lnTo>
                    <a:pt x="4088377" y="1787686"/>
                  </a:lnTo>
                  <a:lnTo>
                    <a:pt x="4088377" y="2051071"/>
                  </a:lnTo>
                  <a:lnTo>
                    <a:pt x="3886243" y="2101605"/>
                  </a:lnTo>
                  <a:cubicBezTo>
                    <a:pt x="3872191" y="2150933"/>
                    <a:pt x="3851639" y="2197531"/>
                    <a:pt x="3826272" y="2241013"/>
                  </a:cubicBezTo>
                  <a:lnTo>
                    <a:pt x="3938572" y="2395786"/>
                  </a:lnTo>
                  <a:lnTo>
                    <a:pt x="3769272" y="2597551"/>
                  </a:lnTo>
                  <a:lnTo>
                    <a:pt x="3574432" y="2502674"/>
                  </a:lnTo>
                  <a:lnTo>
                    <a:pt x="3590059" y="2484050"/>
                  </a:lnTo>
                  <a:cubicBezTo>
                    <a:pt x="3534764" y="2519868"/>
                    <a:pt x="3473263" y="2546445"/>
                    <a:pt x="3407886" y="2563572"/>
                  </a:cubicBezTo>
                  <a:lnTo>
                    <a:pt x="3358323" y="2761823"/>
                  </a:lnTo>
                  <a:lnTo>
                    <a:pt x="3094938" y="2761823"/>
                  </a:lnTo>
                  <a:lnTo>
                    <a:pt x="3045375" y="2563574"/>
                  </a:lnTo>
                  <a:cubicBezTo>
                    <a:pt x="2985349" y="2547848"/>
                    <a:pt x="2928591" y="2524155"/>
                    <a:pt x="2877330" y="2491865"/>
                  </a:cubicBezTo>
                  <a:lnTo>
                    <a:pt x="2882346" y="2497841"/>
                  </a:lnTo>
                  <a:lnTo>
                    <a:pt x="2687507" y="2592718"/>
                  </a:lnTo>
                  <a:lnTo>
                    <a:pt x="2518206" y="2390954"/>
                  </a:lnTo>
                  <a:lnTo>
                    <a:pt x="2626994" y="2241021"/>
                  </a:lnTo>
                  <a:cubicBezTo>
                    <a:pt x="2597591" y="2190623"/>
                    <a:pt x="2574657" y="2136035"/>
                    <a:pt x="2559194" y="2078370"/>
                  </a:cubicBezTo>
                  <a:lnTo>
                    <a:pt x="2371198" y="2031371"/>
                  </a:lnTo>
                  <a:lnTo>
                    <a:pt x="2371198" y="1767986"/>
                  </a:lnTo>
                  <a:lnTo>
                    <a:pt x="2559579" y="1720890"/>
                  </a:lnTo>
                  <a:cubicBezTo>
                    <a:pt x="2572992" y="1669175"/>
                    <a:pt x="2592745" y="1620006"/>
                    <a:pt x="2617681" y="1574051"/>
                  </a:cubicBezTo>
                  <a:lnTo>
                    <a:pt x="2502958" y="1397149"/>
                  </a:lnTo>
                  <a:lnTo>
                    <a:pt x="2682587" y="1204520"/>
                  </a:lnTo>
                  <a:lnTo>
                    <a:pt x="2872193" y="1309466"/>
                  </a:lnTo>
                  <a:lnTo>
                    <a:pt x="2870932" y="1310818"/>
                  </a:lnTo>
                  <a:cubicBezTo>
                    <a:pt x="2925169" y="1276310"/>
                    <a:pt x="2985393" y="1250941"/>
                    <a:pt x="3049268" y="1234575"/>
                  </a:cubicBezTo>
                  <a:lnTo>
                    <a:pt x="3042378" y="1234576"/>
                  </a:lnTo>
                  <a:lnTo>
                    <a:pt x="3094939" y="1024334"/>
                  </a:lnTo>
                  <a:close/>
                  <a:moveTo>
                    <a:pt x="2786480" y="402820"/>
                  </a:moveTo>
                  <a:cubicBezTo>
                    <a:pt x="2745900" y="389943"/>
                    <a:pt x="2701172" y="388627"/>
                    <a:pt x="2657264" y="401580"/>
                  </a:cubicBezTo>
                  <a:cubicBezTo>
                    <a:pt x="2540176" y="436121"/>
                    <a:pt x="2473258" y="559041"/>
                    <a:pt x="2507800" y="676128"/>
                  </a:cubicBezTo>
                  <a:cubicBezTo>
                    <a:pt x="2542340" y="793216"/>
                    <a:pt x="2665260" y="860133"/>
                    <a:pt x="2782348" y="825592"/>
                  </a:cubicBezTo>
                  <a:cubicBezTo>
                    <a:pt x="2899435" y="791051"/>
                    <a:pt x="2966353" y="668132"/>
                    <a:pt x="2931812" y="551045"/>
                  </a:cubicBezTo>
                  <a:cubicBezTo>
                    <a:pt x="2910223" y="477864"/>
                    <a:pt x="2854113" y="424282"/>
                    <a:pt x="2786480" y="402820"/>
                  </a:cubicBezTo>
                  <a:close/>
                  <a:moveTo>
                    <a:pt x="2932202" y="47278"/>
                  </a:moveTo>
                  <a:lnTo>
                    <a:pt x="3090904" y="140999"/>
                  </a:lnTo>
                  <a:lnTo>
                    <a:pt x="3054065" y="265147"/>
                  </a:lnTo>
                  <a:cubicBezTo>
                    <a:pt x="3087256" y="296329"/>
                    <a:pt x="3116089" y="332603"/>
                    <a:pt x="3138727" y="373550"/>
                  </a:cubicBezTo>
                  <a:lnTo>
                    <a:pt x="3276016" y="367796"/>
                  </a:lnTo>
                  <a:lnTo>
                    <a:pt x="3328165" y="544574"/>
                  </a:lnTo>
                  <a:lnTo>
                    <a:pt x="3202503" y="618514"/>
                  </a:lnTo>
                  <a:cubicBezTo>
                    <a:pt x="3202838" y="654403"/>
                    <a:pt x="3198271" y="689748"/>
                    <a:pt x="3189855" y="723955"/>
                  </a:cubicBezTo>
                  <a:lnTo>
                    <a:pt x="3295873" y="805599"/>
                  </a:lnTo>
                  <a:lnTo>
                    <a:pt x="3222192" y="974540"/>
                  </a:lnTo>
                  <a:lnTo>
                    <a:pt x="3072634" y="949439"/>
                  </a:lnTo>
                  <a:lnTo>
                    <a:pt x="3079435" y="933845"/>
                  </a:lnTo>
                  <a:cubicBezTo>
                    <a:pt x="3049413" y="968833"/>
                    <a:pt x="3013398" y="998848"/>
                    <a:pt x="2972910" y="1023288"/>
                  </a:cubicBezTo>
                  <a:lnTo>
                    <a:pt x="2978897" y="1166163"/>
                  </a:lnTo>
                  <a:lnTo>
                    <a:pt x="2802119" y="1218312"/>
                  </a:lnTo>
                  <a:lnTo>
                    <a:pt x="2729602" y="1095065"/>
                  </a:lnTo>
                  <a:cubicBezTo>
                    <a:pt x="2686199" y="1096396"/>
                    <a:pt x="2643414" y="1091732"/>
                    <a:pt x="2602615" y="1080209"/>
                  </a:cubicBezTo>
                  <a:lnTo>
                    <a:pt x="2607165" y="1083226"/>
                  </a:lnTo>
                  <a:lnTo>
                    <a:pt x="2495179" y="1185484"/>
                  </a:lnTo>
                  <a:lnTo>
                    <a:pt x="2341599" y="1083585"/>
                  </a:lnTo>
                  <a:lnTo>
                    <a:pt x="2384929" y="961414"/>
                  </a:lnTo>
                  <a:cubicBezTo>
                    <a:pt x="2355215" y="933409"/>
                    <a:pt x="2329015" y="901312"/>
                    <a:pt x="2307218" y="865670"/>
                  </a:cubicBezTo>
                  <a:lnTo>
                    <a:pt x="2171734" y="871348"/>
                  </a:lnTo>
                  <a:lnTo>
                    <a:pt x="2119584" y="694571"/>
                  </a:lnTo>
                  <a:lnTo>
                    <a:pt x="2236697" y="625662"/>
                  </a:lnTo>
                  <a:cubicBezTo>
                    <a:pt x="2235459" y="588297"/>
                    <a:pt x="2238982" y="551385"/>
                    <a:pt x="2246620" y="515603"/>
                  </a:cubicBezTo>
                  <a:lnTo>
                    <a:pt x="2134594" y="419585"/>
                  </a:lnTo>
                  <a:lnTo>
                    <a:pt x="2217016" y="254732"/>
                  </a:lnTo>
                  <a:lnTo>
                    <a:pt x="2365055" y="287627"/>
                  </a:lnTo>
                  <a:lnTo>
                    <a:pt x="2364476" y="288784"/>
                  </a:lnTo>
                  <a:cubicBezTo>
                    <a:pt x="2394046" y="254885"/>
                    <a:pt x="2429444" y="225933"/>
                    <a:pt x="2469075" y="202302"/>
                  </a:cubicBezTo>
                  <a:lnTo>
                    <a:pt x="2464452" y="203666"/>
                  </a:lnTo>
                  <a:lnTo>
                    <a:pt x="2458102" y="52150"/>
                  </a:lnTo>
                  <a:lnTo>
                    <a:pt x="2634880" y="0"/>
                  </a:lnTo>
                  <a:lnTo>
                    <a:pt x="2711784" y="130703"/>
                  </a:lnTo>
                  <a:lnTo>
                    <a:pt x="2707159" y="132067"/>
                  </a:lnTo>
                  <a:cubicBezTo>
                    <a:pt x="2750672" y="130497"/>
                    <a:pt x="2793590" y="134953"/>
                    <a:pt x="2834535" y="1463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</a:endParaRPr>
            </a:p>
          </p:txBody>
        </p:sp>
        <p:sp>
          <p:nvSpPr>
            <p:cNvPr id="13" name="Isosceles Triangle 20">
              <a:extLst>
                <a:ext uri="{FF2B5EF4-FFF2-40B4-BE49-F238E27FC236}">
                  <a16:creationId xmlns:a16="http://schemas.microsoft.com/office/drawing/2014/main" id="{D07F3C4E-B312-A885-A432-BA3F0C62D2FF}"/>
                </a:ext>
              </a:extLst>
            </p:cNvPr>
            <p:cNvSpPr>
              <a:spLocks noChangeAspect="1"/>
            </p:cNvSpPr>
            <p:nvPr/>
          </p:nvSpPr>
          <p:spPr>
            <a:xfrm rot="8201235">
              <a:off x="412645" y="3560392"/>
              <a:ext cx="281653" cy="310546"/>
            </a:xfrm>
            <a:custGeom>
              <a:avLst/>
              <a:gdLst/>
              <a:ahLst/>
              <a:cxnLst/>
              <a:rect l="l" t="t" r="r" b="b"/>
              <a:pathLst>
                <a:path w="4285801" h="4725490">
                  <a:moveTo>
                    <a:pt x="1428251" y="4622752"/>
                  </a:moveTo>
                  <a:cubicBezTo>
                    <a:pt x="1313180" y="4505074"/>
                    <a:pt x="1240588" y="4345285"/>
                    <a:pt x="1235771" y="4167715"/>
                  </a:cubicBezTo>
                  <a:cubicBezTo>
                    <a:pt x="1227835" y="3875156"/>
                    <a:pt x="1406218" y="3620819"/>
                    <a:pt x="1664050" y="3520754"/>
                  </a:cubicBezTo>
                  <a:lnTo>
                    <a:pt x="1635892" y="2482688"/>
                  </a:lnTo>
                  <a:lnTo>
                    <a:pt x="1044642" y="2469039"/>
                  </a:lnTo>
                  <a:lnTo>
                    <a:pt x="1044642" y="2667331"/>
                  </a:lnTo>
                  <a:cubicBezTo>
                    <a:pt x="1044642" y="2727000"/>
                    <a:pt x="996271" y="2775371"/>
                    <a:pt x="936601" y="2775372"/>
                  </a:cubicBezTo>
                  <a:lnTo>
                    <a:pt x="657382" y="2775371"/>
                  </a:lnTo>
                  <a:cubicBezTo>
                    <a:pt x="637755" y="2823613"/>
                    <a:pt x="630101" y="2874237"/>
                    <a:pt x="622448" y="2945800"/>
                  </a:cubicBezTo>
                  <a:lnTo>
                    <a:pt x="252030" y="2945800"/>
                  </a:lnTo>
                  <a:cubicBezTo>
                    <a:pt x="256275" y="2883407"/>
                    <a:pt x="252593" y="2828938"/>
                    <a:pt x="235967" y="2775370"/>
                  </a:cubicBezTo>
                  <a:lnTo>
                    <a:pt x="7267" y="2775370"/>
                  </a:lnTo>
                  <a:cubicBezTo>
                    <a:pt x="1003" y="2679903"/>
                    <a:pt x="-1109" y="2594661"/>
                    <a:pt x="535" y="2514852"/>
                  </a:cubicBezTo>
                  <a:cubicBezTo>
                    <a:pt x="5466" y="2275424"/>
                    <a:pt x="44187" y="2084887"/>
                    <a:pt x="105917" y="1813823"/>
                  </a:cubicBezTo>
                  <a:cubicBezTo>
                    <a:pt x="258635" y="1288584"/>
                    <a:pt x="488046" y="911620"/>
                    <a:pt x="870837" y="570445"/>
                  </a:cubicBezTo>
                  <a:cubicBezTo>
                    <a:pt x="674179" y="1284154"/>
                    <a:pt x="622718" y="1497188"/>
                    <a:pt x="741752" y="1669956"/>
                  </a:cubicBezTo>
                  <a:cubicBezTo>
                    <a:pt x="882751" y="1699943"/>
                    <a:pt x="788174" y="1674807"/>
                    <a:pt x="936601" y="1710419"/>
                  </a:cubicBezTo>
                  <a:cubicBezTo>
                    <a:pt x="1001384" y="1730870"/>
                    <a:pt x="1044642" y="1758791"/>
                    <a:pt x="1044642" y="1818460"/>
                  </a:cubicBezTo>
                  <a:lnTo>
                    <a:pt x="1044642" y="1970448"/>
                  </a:lnTo>
                  <a:lnTo>
                    <a:pt x="1621635" y="1957128"/>
                  </a:lnTo>
                  <a:lnTo>
                    <a:pt x="1601569" y="1217379"/>
                  </a:lnTo>
                  <a:cubicBezTo>
                    <a:pt x="1338692" y="1131438"/>
                    <a:pt x="1146783" y="887145"/>
                    <a:pt x="1138847" y="594588"/>
                  </a:cubicBezTo>
                  <a:cubicBezTo>
                    <a:pt x="1132425" y="357828"/>
                    <a:pt x="1248029" y="146099"/>
                    <a:pt x="1428910" y="20243"/>
                  </a:cubicBezTo>
                  <a:lnTo>
                    <a:pt x="1447318" y="698863"/>
                  </a:lnTo>
                  <a:lnTo>
                    <a:pt x="2193594" y="678620"/>
                  </a:lnTo>
                  <a:lnTo>
                    <a:pt x="2175185" y="0"/>
                  </a:lnTo>
                  <a:cubicBezTo>
                    <a:pt x="2362624" y="115865"/>
                    <a:pt x="2489536" y="321015"/>
                    <a:pt x="2495958" y="557775"/>
                  </a:cubicBezTo>
                  <a:cubicBezTo>
                    <a:pt x="2503894" y="850332"/>
                    <a:pt x="2325511" y="1104670"/>
                    <a:pt x="2067679" y="1204735"/>
                  </a:cubicBezTo>
                  <a:lnTo>
                    <a:pt x="2087796" y="1946367"/>
                  </a:lnTo>
                  <a:lnTo>
                    <a:pt x="4285801" y="1895627"/>
                  </a:lnTo>
                  <a:lnTo>
                    <a:pt x="4285801" y="2543859"/>
                  </a:lnTo>
                  <a:lnTo>
                    <a:pt x="2102637" y="2493462"/>
                  </a:lnTo>
                  <a:lnTo>
                    <a:pt x="2130160" y="3508110"/>
                  </a:lnTo>
                  <a:cubicBezTo>
                    <a:pt x="2393037" y="3594051"/>
                    <a:pt x="2584946" y="3838344"/>
                    <a:pt x="2592882" y="4130902"/>
                  </a:cubicBezTo>
                  <a:cubicBezTo>
                    <a:pt x="2599304" y="4367662"/>
                    <a:pt x="2483700" y="4579391"/>
                    <a:pt x="2302820" y="4705247"/>
                  </a:cubicBezTo>
                  <a:lnTo>
                    <a:pt x="2284411" y="4026626"/>
                  </a:lnTo>
                  <a:lnTo>
                    <a:pt x="1538135" y="4046869"/>
                  </a:lnTo>
                  <a:lnTo>
                    <a:pt x="1556544" y="4725490"/>
                  </a:lnTo>
                  <a:cubicBezTo>
                    <a:pt x="1509684" y="4696524"/>
                    <a:pt x="1466607" y="4661977"/>
                    <a:pt x="1428251" y="4622752"/>
                  </a:cubicBezTo>
                  <a:close/>
                  <a:moveTo>
                    <a:pt x="44807" y="3562389"/>
                  </a:moveTo>
                  <a:cubicBezTo>
                    <a:pt x="25255" y="3542837"/>
                    <a:pt x="13162" y="3515827"/>
                    <a:pt x="13162" y="3485992"/>
                  </a:cubicBezTo>
                  <a:lnTo>
                    <a:pt x="13162" y="3053842"/>
                  </a:lnTo>
                  <a:cubicBezTo>
                    <a:pt x="13162" y="2994173"/>
                    <a:pt x="61534" y="2945801"/>
                    <a:pt x="121203" y="2945801"/>
                  </a:cubicBezTo>
                  <a:lnTo>
                    <a:pt x="757287" y="2945801"/>
                  </a:lnTo>
                  <a:cubicBezTo>
                    <a:pt x="816956" y="2945801"/>
                    <a:pt x="865328" y="2994173"/>
                    <a:pt x="865328" y="3053842"/>
                  </a:cubicBezTo>
                  <a:lnTo>
                    <a:pt x="865328" y="3485992"/>
                  </a:lnTo>
                  <a:cubicBezTo>
                    <a:pt x="865328" y="3545662"/>
                    <a:pt x="816956" y="3594033"/>
                    <a:pt x="757287" y="3594033"/>
                  </a:cubicBezTo>
                  <a:lnTo>
                    <a:pt x="121203" y="3594033"/>
                  </a:lnTo>
                  <a:cubicBezTo>
                    <a:pt x="91368" y="3594033"/>
                    <a:pt x="64358" y="3581940"/>
                    <a:pt x="44807" y="356238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>
                <a:latin typeface="나눔스퀘어 네오 Regular" panose="00000500000000000000" pitchFamily="2" charset="-127"/>
                <a:ea typeface="나눔스퀘어 네오 Regular" panose="00000500000000000000" pitchFamily="2" charset="-127"/>
              </a:endParaRPr>
            </a:p>
          </p:txBody>
        </p:sp>
        <p:sp>
          <p:nvSpPr>
            <p:cNvPr id="14" name="Block Arc 6">
              <a:extLst>
                <a:ext uri="{FF2B5EF4-FFF2-40B4-BE49-F238E27FC236}">
                  <a16:creationId xmlns:a16="http://schemas.microsoft.com/office/drawing/2014/main" id="{1FE1DA02-8380-6F3A-4C86-0BC222D99CD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17772" y="3591408"/>
              <a:ext cx="244258" cy="246661"/>
            </a:xfrm>
            <a:custGeom>
              <a:avLst/>
              <a:gdLst>
                <a:gd name="connsiteX0" fmla="*/ 2664630 w 3221102"/>
                <a:gd name="connsiteY0" fmla="*/ 2175617 h 3221116"/>
                <a:gd name="connsiteX1" fmla="*/ 2658205 w 3221102"/>
                <a:gd name="connsiteY1" fmla="*/ 2178566 h 3221116"/>
                <a:gd name="connsiteX2" fmla="*/ 2664630 w 3221102"/>
                <a:gd name="connsiteY2" fmla="*/ 2175617 h 3221116"/>
                <a:gd name="connsiteX3" fmla="*/ 1477043 w 3221102"/>
                <a:gd name="connsiteY3" fmla="*/ 1144372 h 3221116"/>
                <a:gd name="connsiteX4" fmla="*/ 1409070 w 3221102"/>
                <a:gd name="connsiteY4" fmla="*/ 1159393 h 3221116"/>
                <a:gd name="connsiteX5" fmla="*/ 1152384 w 3221102"/>
                <a:gd name="connsiteY5" fmla="*/ 1703728 h 3221116"/>
                <a:gd name="connsiteX6" fmla="*/ 1591651 w 3221102"/>
                <a:gd name="connsiteY6" fmla="*/ 2152290 h 3221116"/>
                <a:gd name="connsiteX7" fmla="*/ 1850815 w 3221102"/>
                <a:gd name="connsiteY7" fmla="*/ 1654259 h 3221116"/>
                <a:gd name="connsiteX8" fmla="*/ 1830467 w 3221102"/>
                <a:gd name="connsiteY8" fmla="*/ 1515986 h 3221116"/>
                <a:gd name="connsiteX9" fmla="*/ 1477043 w 3221102"/>
                <a:gd name="connsiteY9" fmla="*/ 1144372 h 3221116"/>
                <a:gd name="connsiteX10" fmla="*/ 1651152 w 3221102"/>
                <a:gd name="connsiteY10" fmla="*/ 501 h 3221116"/>
                <a:gd name="connsiteX11" fmla="*/ 2580395 w 3221102"/>
                <a:gd name="connsiteY11" fmla="*/ 324821 h 3221116"/>
                <a:gd name="connsiteX12" fmla="*/ 3030464 w 3221102"/>
                <a:gd name="connsiteY12" fmla="*/ 2370314 h 3221116"/>
                <a:gd name="connsiteX13" fmla="*/ 3004976 w 3221102"/>
                <a:gd name="connsiteY13" fmla="*/ 2356675 h 3221116"/>
                <a:gd name="connsiteX14" fmla="*/ 2585849 w 3221102"/>
                <a:gd name="connsiteY14" fmla="*/ 2588887 h 3221116"/>
                <a:gd name="connsiteX15" fmla="*/ 1973374 w 3221102"/>
                <a:gd name="connsiteY15" fmla="*/ 2195096 h 3221116"/>
                <a:gd name="connsiteX16" fmla="*/ 1390827 w 3221102"/>
                <a:gd name="connsiteY16" fmla="*/ 2527630 h 3221116"/>
                <a:gd name="connsiteX17" fmla="*/ 783896 w 3221102"/>
                <a:gd name="connsiteY17" fmla="*/ 1665044 h 3221116"/>
                <a:gd name="connsiteX18" fmla="*/ 1268509 w 3221102"/>
                <a:gd name="connsiteY18" fmla="*/ 819983 h 3221116"/>
                <a:gd name="connsiteX19" fmla="*/ 1328805 w 3221102"/>
                <a:gd name="connsiteY19" fmla="*/ 807930 h 3221116"/>
                <a:gd name="connsiteX20" fmla="*/ 1390827 w 3221102"/>
                <a:gd name="connsiteY20" fmla="*/ 802457 h 3221116"/>
                <a:gd name="connsiteX21" fmla="*/ 1462242 w 3221102"/>
                <a:gd name="connsiteY21" fmla="*/ 801708 h 3221116"/>
                <a:gd name="connsiteX22" fmla="*/ 1734726 w 3221102"/>
                <a:gd name="connsiteY22" fmla="*/ 869255 h 3221116"/>
                <a:gd name="connsiteX23" fmla="*/ 1956122 w 3221102"/>
                <a:gd name="connsiteY23" fmla="*/ 1110076 h 3221116"/>
                <a:gd name="connsiteX24" fmla="*/ 1973374 w 3221102"/>
                <a:gd name="connsiteY24" fmla="*/ 875315 h 3221116"/>
                <a:gd name="connsiteX25" fmla="*/ 2333414 w 3221102"/>
                <a:gd name="connsiteY25" fmla="*/ 875315 h 3221116"/>
                <a:gd name="connsiteX26" fmla="*/ 2324788 w 3221102"/>
                <a:gd name="connsiteY26" fmla="*/ 2054049 h 3221116"/>
                <a:gd name="connsiteX27" fmla="*/ 2661746 w 3221102"/>
                <a:gd name="connsiteY27" fmla="*/ 2179658 h 3221116"/>
                <a:gd name="connsiteX28" fmla="*/ 2691046 w 3221102"/>
                <a:gd name="connsiteY28" fmla="*/ 2188689 h 3221116"/>
                <a:gd name="connsiteX29" fmla="*/ 2667011 w 3221102"/>
                <a:gd name="connsiteY29" fmla="*/ 2175828 h 3221116"/>
                <a:gd name="connsiteX30" fmla="*/ 2332141 w 3221102"/>
                <a:gd name="connsiteY30" fmla="*/ 653899 h 3221116"/>
                <a:gd name="connsiteX31" fmla="*/ 776764 w 3221102"/>
                <a:gd name="connsiteY31" fmla="*/ 749845 h 3221116"/>
                <a:gd name="connsiteX32" fmla="*/ 631487 w 3221102"/>
                <a:gd name="connsiteY32" fmla="*/ 2301392 h 3221116"/>
                <a:gd name="connsiteX33" fmla="*/ 2142017 w 3221102"/>
                <a:gd name="connsiteY33" fmla="*/ 2684410 h 3221116"/>
                <a:gd name="connsiteX34" fmla="*/ 2324866 w 3221102"/>
                <a:gd name="connsiteY34" fmla="*/ 3053856 h 3221116"/>
                <a:gd name="connsiteX35" fmla="*/ 294693 w 3221102"/>
                <a:gd name="connsiteY35" fmla="*/ 2539075 h 3221116"/>
                <a:gd name="connsiteX36" fmla="*/ 489947 w 3221102"/>
                <a:gd name="connsiteY36" fmla="*/ 453774 h 3221116"/>
                <a:gd name="connsiteX37" fmla="*/ 1651152 w 3221102"/>
                <a:gd name="connsiteY37" fmla="*/ 501 h 3221116"/>
                <a:gd name="connsiteX0" fmla="*/ 2664630 w 3221102"/>
                <a:gd name="connsiteY0" fmla="*/ 2175617 h 3221116"/>
                <a:gd name="connsiteX1" fmla="*/ 2658205 w 3221102"/>
                <a:gd name="connsiteY1" fmla="*/ 2178566 h 3221116"/>
                <a:gd name="connsiteX2" fmla="*/ 2664630 w 3221102"/>
                <a:gd name="connsiteY2" fmla="*/ 2175617 h 3221116"/>
                <a:gd name="connsiteX3" fmla="*/ 1477043 w 3221102"/>
                <a:gd name="connsiteY3" fmla="*/ 1144372 h 3221116"/>
                <a:gd name="connsiteX4" fmla="*/ 1409070 w 3221102"/>
                <a:gd name="connsiteY4" fmla="*/ 1159393 h 3221116"/>
                <a:gd name="connsiteX5" fmla="*/ 1152384 w 3221102"/>
                <a:gd name="connsiteY5" fmla="*/ 1703728 h 3221116"/>
                <a:gd name="connsiteX6" fmla="*/ 1591651 w 3221102"/>
                <a:gd name="connsiteY6" fmla="*/ 2152290 h 3221116"/>
                <a:gd name="connsiteX7" fmla="*/ 1850815 w 3221102"/>
                <a:gd name="connsiteY7" fmla="*/ 1654259 h 3221116"/>
                <a:gd name="connsiteX8" fmla="*/ 1830467 w 3221102"/>
                <a:gd name="connsiteY8" fmla="*/ 1515986 h 3221116"/>
                <a:gd name="connsiteX9" fmla="*/ 1477043 w 3221102"/>
                <a:gd name="connsiteY9" fmla="*/ 1144372 h 3221116"/>
                <a:gd name="connsiteX10" fmla="*/ 1651152 w 3221102"/>
                <a:gd name="connsiteY10" fmla="*/ 501 h 3221116"/>
                <a:gd name="connsiteX11" fmla="*/ 2580395 w 3221102"/>
                <a:gd name="connsiteY11" fmla="*/ 324821 h 3221116"/>
                <a:gd name="connsiteX12" fmla="*/ 3030464 w 3221102"/>
                <a:gd name="connsiteY12" fmla="*/ 2370314 h 3221116"/>
                <a:gd name="connsiteX13" fmla="*/ 3004976 w 3221102"/>
                <a:gd name="connsiteY13" fmla="*/ 2356675 h 3221116"/>
                <a:gd name="connsiteX14" fmla="*/ 2585849 w 3221102"/>
                <a:gd name="connsiteY14" fmla="*/ 2588887 h 3221116"/>
                <a:gd name="connsiteX15" fmla="*/ 1973374 w 3221102"/>
                <a:gd name="connsiteY15" fmla="*/ 2195096 h 3221116"/>
                <a:gd name="connsiteX16" fmla="*/ 1390827 w 3221102"/>
                <a:gd name="connsiteY16" fmla="*/ 2527630 h 3221116"/>
                <a:gd name="connsiteX17" fmla="*/ 783896 w 3221102"/>
                <a:gd name="connsiteY17" fmla="*/ 1665044 h 3221116"/>
                <a:gd name="connsiteX18" fmla="*/ 1268509 w 3221102"/>
                <a:gd name="connsiteY18" fmla="*/ 819983 h 3221116"/>
                <a:gd name="connsiteX19" fmla="*/ 1328805 w 3221102"/>
                <a:gd name="connsiteY19" fmla="*/ 807930 h 3221116"/>
                <a:gd name="connsiteX20" fmla="*/ 1390827 w 3221102"/>
                <a:gd name="connsiteY20" fmla="*/ 802457 h 3221116"/>
                <a:gd name="connsiteX21" fmla="*/ 1462242 w 3221102"/>
                <a:gd name="connsiteY21" fmla="*/ 801708 h 3221116"/>
                <a:gd name="connsiteX22" fmla="*/ 1734726 w 3221102"/>
                <a:gd name="connsiteY22" fmla="*/ 869255 h 3221116"/>
                <a:gd name="connsiteX23" fmla="*/ 1956122 w 3221102"/>
                <a:gd name="connsiteY23" fmla="*/ 1110076 h 3221116"/>
                <a:gd name="connsiteX24" fmla="*/ 1973374 w 3221102"/>
                <a:gd name="connsiteY24" fmla="*/ 875315 h 3221116"/>
                <a:gd name="connsiteX25" fmla="*/ 2333414 w 3221102"/>
                <a:gd name="connsiteY25" fmla="*/ 875315 h 3221116"/>
                <a:gd name="connsiteX26" fmla="*/ 2324788 w 3221102"/>
                <a:gd name="connsiteY26" fmla="*/ 2054049 h 3221116"/>
                <a:gd name="connsiteX27" fmla="*/ 2661746 w 3221102"/>
                <a:gd name="connsiteY27" fmla="*/ 2179658 h 3221116"/>
                <a:gd name="connsiteX28" fmla="*/ 2691046 w 3221102"/>
                <a:gd name="connsiteY28" fmla="*/ 2188689 h 3221116"/>
                <a:gd name="connsiteX29" fmla="*/ 2667011 w 3221102"/>
                <a:gd name="connsiteY29" fmla="*/ 2175828 h 3221116"/>
                <a:gd name="connsiteX30" fmla="*/ 2332141 w 3221102"/>
                <a:gd name="connsiteY30" fmla="*/ 653899 h 3221116"/>
                <a:gd name="connsiteX31" fmla="*/ 776764 w 3221102"/>
                <a:gd name="connsiteY31" fmla="*/ 749845 h 3221116"/>
                <a:gd name="connsiteX32" fmla="*/ 631487 w 3221102"/>
                <a:gd name="connsiteY32" fmla="*/ 2301392 h 3221116"/>
                <a:gd name="connsiteX33" fmla="*/ 2142017 w 3221102"/>
                <a:gd name="connsiteY33" fmla="*/ 2684410 h 3221116"/>
                <a:gd name="connsiteX34" fmla="*/ 2324866 w 3221102"/>
                <a:gd name="connsiteY34" fmla="*/ 3053856 h 3221116"/>
                <a:gd name="connsiteX35" fmla="*/ 294693 w 3221102"/>
                <a:gd name="connsiteY35" fmla="*/ 2539075 h 3221116"/>
                <a:gd name="connsiteX36" fmla="*/ 489947 w 3221102"/>
                <a:gd name="connsiteY36" fmla="*/ 453774 h 3221116"/>
                <a:gd name="connsiteX37" fmla="*/ 1651152 w 3221102"/>
                <a:gd name="connsiteY37" fmla="*/ 501 h 3221116"/>
                <a:gd name="connsiteX0" fmla="*/ 2664630 w 3221102"/>
                <a:gd name="connsiteY0" fmla="*/ 2175617 h 3221116"/>
                <a:gd name="connsiteX1" fmla="*/ 2658205 w 3221102"/>
                <a:gd name="connsiteY1" fmla="*/ 2178566 h 3221116"/>
                <a:gd name="connsiteX2" fmla="*/ 2664630 w 3221102"/>
                <a:gd name="connsiteY2" fmla="*/ 2175617 h 3221116"/>
                <a:gd name="connsiteX3" fmla="*/ 1477043 w 3221102"/>
                <a:gd name="connsiteY3" fmla="*/ 1144372 h 3221116"/>
                <a:gd name="connsiteX4" fmla="*/ 1409070 w 3221102"/>
                <a:gd name="connsiteY4" fmla="*/ 1159393 h 3221116"/>
                <a:gd name="connsiteX5" fmla="*/ 1152384 w 3221102"/>
                <a:gd name="connsiteY5" fmla="*/ 1703728 h 3221116"/>
                <a:gd name="connsiteX6" fmla="*/ 1591651 w 3221102"/>
                <a:gd name="connsiteY6" fmla="*/ 2152290 h 3221116"/>
                <a:gd name="connsiteX7" fmla="*/ 1850815 w 3221102"/>
                <a:gd name="connsiteY7" fmla="*/ 1654259 h 3221116"/>
                <a:gd name="connsiteX8" fmla="*/ 1830467 w 3221102"/>
                <a:gd name="connsiteY8" fmla="*/ 1515986 h 3221116"/>
                <a:gd name="connsiteX9" fmla="*/ 1477043 w 3221102"/>
                <a:gd name="connsiteY9" fmla="*/ 1144372 h 3221116"/>
                <a:gd name="connsiteX10" fmla="*/ 1651152 w 3221102"/>
                <a:gd name="connsiteY10" fmla="*/ 501 h 3221116"/>
                <a:gd name="connsiteX11" fmla="*/ 2580395 w 3221102"/>
                <a:gd name="connsiteY11" fmla="*/ 324821 h 3221116"/>
                <a:gd name="connsiteX12" fmla="*/ 3030464 w 3221102"/>
                <a:gd name="connsiteY12" fmla="*/ 2370314 h 3221116"/>
                <a:gd name="connsiteX13" fmla="*/ 3004976 w 3221102"/>
                <a:gd name="connsiteY13" fmla="*/ 2356675 h 3221116"/>
                <a:gd name="connsiteX14" fmla="*/ 2585849 w 3221102"/>
                <a:gd name="connsiteY14" fmla="*/ 2588887 h 3221116"/>
                <a:gd name="connsiteX15" fmla="*/ 1973374 w 3221102"/>
                <a:gd name="connsiteY15" fmla="*/ 2195096 h 3221116"/>
                <a:gd name="connsiteX16" fmla="*/ 1390827 w 3221102"/>
                <a:gd name="connsiteY16" fmla="*/ 2527630 h 3221116"/>
                <a:gd name="connsiteX17" fmla="*/ 783896 w 3221102"/>
                <a:gd name="connsiteY17" fmla="*/ 1665044 h 3221116"/>
                <a:gd name="connsiteX18" fmla="*/ 1268509 w 3221102"/>
                <a:gd name="connsiteY18" fmla="*/ 819983 h 3221116"/>
                <a:gd name="connsiteX19" fmla="*/ 1328805 w 3221102"/>
                <a:gd name="connsiteY19" fmla="*/ 807930 h 3221116"/>
                <a:gd name="connsiteX20" fmla="*/ 1390827 w 3221102"/>
                <a:gd name="connsiteY20" fmla="*/ 802457 h 3221116"/>
                <a:gd name="connsiteX21" fmla="*/ 1462242 w 3221102"/>
                <a:gd name="connsiteY21" fmla="*/ 801708 h 3221116"/>
                <a:gd name="connsiteX22" fmla="*/ 1956122 w 3221102"/>
                <a:gd name="connsiteY22" fmla="*/ 1110076 h 3221116"/>
                <a:gd name="connsiteX23" fmla="*/ 1973374 w 3221102"/>
                <a:gd name="connsiteY23" fmla="*/ 875315 h 3221116"/>
                <a:gd name="connsiteX24" fmla="*/ 2333414 w 3221102"/>
                <a:gd name="connsiteY24" fmla="*/ 875315 h 3221116"/>
                <a:gd name="connsiteX25" fmla="*/ 2324788 w 3221102"/>
                <a:gd name="connsiteY25" fmla="*/ 2054049 h 3221116"/>
                <a:gd name="connsiteX26" fmla="*/ 2661746 w 3221102"/>
                <a:gd name="connsiteY26" fmla="*/ 2179658 h 3221116"/>
                <a:gd name="connsiteX27" fmla="*/ 2691046 w 3221102"/>
                <a:gd name="connsiteY27" fmla="*/ 2188689 h 3221116"/>
                <a:gd name="connsiteX28" fmla="*/ 2667011 w 3221102"/>
                <a:gd name="connsiteY28" fmla="*/ 2175828 h 3221116"/>
                <a:gd name="connsiteX29" fmla="*/ 2332141 w 3221102"/>
                <a:gd name="connsiteY29" fmla="*/ 653899 h 3221116"/>
                <a:gd name="connsiteX30" fmla="*/ 776764 w 3221102"/>
                <a:gd name="connsiteY30" fmla="*/ 749845 h 3221116"/>
                <a:gd name="connsiteX31" fmla="*/ 631487 w 3221102"/>
                <a:gd name="connsiteY31" fmla="*/ 2301392 h 3221116"/>
                <a:gd name="connsiteX32" fmla="*/ 2142017 w 3221102"/>
                <a:gd name="connsiteY32" fmla="*/ 2684410 h 3221116"/>
                <a:gd name="connsiteX33" fmla="*/ 2324866 w 3221102"/>
                <a:gd name="connsiteY33" fmla="*/ 3053856 h 3221116"/>
                <a:gd name="connsiteX34" fmla="*/ 294693 w 3221102"/>
                <a:gd name="connsiteY34" fmla="*/ 2539075 h 3221116"/>
                <a:gd name="connsiteX35" fmla="*/ 489947 w 3221102"/>
                <a:gd name="connsiteY35" fmla="*/ 453774 h 3221116"/>
                <a:gd name="connsiteX36" fmla="*/ 1651152 w 3221102"/>
                <a:gd name="connsiteY36" fmla="*/ 501 h 3221116"/>
                <a:gd name="connsiteX0" fmla="*/ 2664630 w 3221102"/>
                <a:gd name="connsiteY0" fmla="*/ 2175617 h 3221116"/>
                <a:gd name="connsiteX1" fmla="*/ 2658205 w 3221102"/>
                <a:gd name="connsiteY1" fmla="*/ 2178566 h 3221116"/>
                <a:gd name="connsiteX2" fmla="*/ 2664630 w 3221102"/>
                <a:gd name="connsiteY2" fmla="*/ 2175617 h 3221116"/>
                <a:gd name="connsiteX3" fmla="*/ 1477043 w 3221102"/>
                <a:gd name="connsiteY3" fmla="*/ 1144372 h 3221116"/>
                <a:gd name="connsiteX4" fmla="*/ 1409070 w 3221102"/>
                <a:gd name="connsiteY4" fmla="*/ 1159393 h 3221116"/>
                <a:gd name="connsiteX5" fmla="*/ 1152384 w 3221102"/>
                <a:gd name="connsiteY5" fmla="*/ 1703728 h 3221116"/>
                <a:gd name="connsiteX6" fmla="*/ 1591651 w 3221102"/>
                <a:gd name="connsiteY6" fmla="*/ 2152290 h 3221116"/>
                <a:gd name="connsiteX7" fmla="*/ 1850815 w 3221102"/>
                <a:gd name="connsiteY7" fmla="*/ 1654259 h 3221116"/>
                <a:gd name="connsiteX8" fmla="*/ 1830467 w 3221102"/>
                <a:gd name="connsiteY8" fmla="*/ 1515986 h 3221116"/>
                <a:gd name="connsiteX9" fmla="*/ 1477043 w 3221102"/>
                <a:gd name="connsiteY9" fmla="*/ 1144372 h 3221116"/>
                <a:gd name="connsiteX10" fmla="*/ 1651152 w 3221102"/>
                <a:gd name="connsiteY10" fmla="*/ 501 h 3221116"/>
                <a:gd name="connsiteX11" fmla="*/ 2580395 w 3221102"/>
                <a:gd name="connsiteY11" fmla="*/ 324821 h 3221116"/>
                <a:gd name="connsiteX12" fmla="*/ 3030464 w 3221102"/>
                <a:gd name="connsiteY12" fmla="*/ 2370314 h 3221116"/>
                <a:gd name="connsiteX13" fmla="*/ 3004976 w 3221102"/>
                <a:gd name="connsiteY13" fmla="*/ 2356675 h 3221116"/>
                <a:gd name="connsiteX14" fmla="*/ 2585849 w 3221102"/>
                <a:gd name="connsiteY14" fmla="*/ 2588887 h 3221116"/>
                <a:gd name="connsiteX15" fmla="*/ 1973374 w 3221102"/>
                <a:gd name="connsiteY15" fmla="*/ 2195096 h 3221116"/>
                <a:gd name="connsiteX16" fmla="*/ 1390827 w 3221102"/>
                <a:gd name="connsiteY16" fmla="*/ 2527630 h 3221116"/>
                <a:gd name="connsiteX17" fmla="*/ 783896 w 3221102"/>
                <a:gd name="connsiteY17" fmla="*/ 1665044 h 3221116"/>
                <a:gd name="connsiteX18" fmla="*/ 1268509 w 3221102"/>
                <a:gd name="connsiteY18" fmla="*/ 819983 h 3221116"/>
                <a:gd name="connsiteX19" fmla="*/ 1328805 w 3221102"/>
                <a:gd name="connsiteY19" fmla="*/ 807930 h 3221116"/>
                <a:gd name="connsiteX20" fmla="*/ 1390827 w 3221102"/>
                <a:gd name="connsiteY20" fmla="*/ 802457 h 3221116"/>
                <a:gd name="connsiteX21" fmla="*/ 1462242 w 3221102"/>
                <a:gd name="connsiteY21" fmla="*/ 801708 h 3221116"/>
                <a:gd name="connsiteX22" fmla="*/ 1956122 w 3221102"/>
                <a:gd name="connsiteY22" fmla="*/ 1110076 h 3221116"/>
                <a:gd name="connsiteX23" fmla="*/ 1973374 w 3221102"/>
                <a:gd name="connsiteY23" fmla="*/ 875315 h 3221116"/>
                <a:gd name="connsiteX24" fmla="*/ 2333414 w 3221102"/>
                <a:gd name="connsiteY24" fmla="*/ 875315 h 3221116"/>
                <a:gd name="connsiteX25" fmla="*/ 2324788 w 3221102"/>
                <a:gd name="connsiteY25" fmla="*/ 2054049 h 3221116"/>
                <a:gd name="connsiteX26" fmla="*/ 2661746 w 3221102"/>
                <a:gd name="connsiteY26" fmla="*/ 2179658 h 3221116"/>
                <a:gd name="connsiteX27" fmla="*/ 2691046 w 3221102"/>
                <a:gd name="connsiteY27" fmla="*/ 2188689 h 3221116"/>
                <a:gd name="connsiteX28" fmla="*/ 2667011 w 3221102"/>
                <a:gd name="connsiteY28" fmla="*/ 2175828 h 3221116"/>
                <a:gd name="connsiteX29" fmla="*/ 2332141 w 3221102"/>
                <a:gd name="connsiteY29" fmla="*/ 653899 h 3221116"/>
                <a:gd name="connsiteX30" fmla="*/ 776764 w 3221102"/>
                <a:gd name="connsiteY30" fmla="*/ 749845 h 3221116"/>
                <a:gd name="connsiteX31" fmla="*/ 631487 w 3221102"/>
                <a:gd name="connsiteY31" fmla="*/ 2301392 h 3221116"/>
                <a:gd name="connsiteX32" fmla="*/ 2142017 w 3221102"/>
                <a:gd name="connsiteY32" fmla="*/ 2684410 h 3221116"/>
                <a:gd name="connsiteX33" fmla="*/ 2324866 w 3221102"/>
                <a:gd name="connsiteY33" fmla="*/ 3053856 h 3221116"/>
                <a:gd name="connsiteX34" fmla="*/ 294693 w 3221102"/>
                <a:gd name="connsiteY34" fmla="*/ 2539075 h 3221116"/>
                <a:gd name="connsiteX35" fmla="*/ 489947 w 3221102"/>
                <a:gd name="connsiteY35" fmla="*/ 453774 h 3221116"/>
                <a:gd name="connsiteX36" fmla="*/ 1651152 w 3221102"/>
                <a:gd name="connsiteY36" fmla="*/ 501 h 3221116"/>
                <a:gd name="connsiteX0" fmla="*/ 2664630 w 3221102"/>
                <a:gd name="connsiteY0" fmla="*/ 2175617 h 3221116"/>
                <a:gd name="connsiteX1" fmla="*/ 2658205 w 3221102"/>
                <a:gd name="connsiteY1" fmla="*/ 2178566 h 3221116"/>
                <a:gd name="connsiteX2" fmla="*/ 2664630 w 3221102"/>
                <a:gd name="connsiteY2" fmla="*/ 2175617 h 3221116"/>
                <a:gd name="connsiteX3" fmla="*/ 1477043 w 3221102"/>
                <a:gd name="connsiteY3" fmla="*/ 1144372 h 3221116"/>
                <a:gd name="connsiteX4" fmla="*/ 1409070 w 3221102"/>
                <a:gd name="connsiteY4" fmla="*/ 1159393 h 3221116"/>
                <a:gd name="connsiteX5" fmla="*/ 1152384 w 3221102"/>
                <a:gd name="connsiteY5" fmla="*/ 1703728 h 3221116"/>
                <a:gd name="connsiteX6" fmla="*/ 1591651 w 3221102"/>
                <a:gd name="connsiteY6" fmla="*/ 2152290 h 3221116"/>
                <a:gd name="connsiteX7" fmla="*/ 1850815 w 3221102"/>
                <a:gd name="connsiteY7" fmla="*/ 1654259 h 3221116"/>
                <a:gd name="connsiteX8" fmla="*/ 1830467 w 3221102"/>
                <a:gd name="connsiteY8" fmla="*/ 1515986 h 3221116"/>
                <a:gd name="connsiteX9" fmla="*/ 1477043 w 3221102"/>
                <a:gd name="connsiteY9" fmla="*/ 1144372 h 3221116"/>
                <a:gd name="connsiteX10" fmla="*/ 1651152 w 3221102"/>
                <a:gd name="connsiteY10" fmla="*/ 501 h 3221116"/>
                <a:gd name="connsiteX11" fmla="*/ 2580395 w 3221102"/>
                <a:gd name="connsiteY11" fmla="*/ 324821 h 3221116"/>
                <a:gd name="connsiteX12" fmla="*/ 3030464 w 3221102"/>
                <a:gd name="connsiteY12" fmla="*/ 2370314 h 3221116"/>
                <a:gd name="connsiteX13" fmla="*/ 3004976 w 3221102"/>
                <a:gd name="connsiteY13" fmla="*/ 2356675 h 3221116"/>
                <a:gd name="connsiteX14" fmla="*/ 2585849 w 3221102"/>
                <a:gd name="connsiteY14" fmla="*/ 2588887 h 3221116"/>
                <a:gd name="connsiteX15" fmla="*/ 1973374 w 3221102"/>
                <a:gd name="connsiteY15" fmla="*/ 2195096 h 3221116"/>
                <a:gd name="connsiteX16" fmla="*/ 1390827 w 3221102"/>
                <a:gd name="connsiteY16" fmla="*/ 2527630 h 3221116"/>
                <a:gd name="connsiteX17" fmla="*/ 783896 w 3221102"/>
                <a:gd name="connsiteY17" fmla="*/ 1665044 h 3221116"/>
                <a:gd name="connsiteX18" fmla="*/ 1268509 w 3221102"/>
                <a:gd name="connsiteY18" fmla="*/ 819983 h 3221116"/>
                <a:gd name="connsiteX19" fmla="*/ 1328805 w 3221102"/>
                <a:gd name="connsiteY19" fmla="*/ 807930 h 3221116"/>
                <a:gd name="connsiteX20" fmla="*/ 1390827 w 3221102"/>
                <a:gd name="connsiteY20" fmla="*/ 802457 h 3221116"/>
                <a:gd name="connsiteX21" fmla="*/ 1462242 w 3221102"/>
                <a:gd name="connsiteY21" fmla="*/ 801708 h 3221116"/>
                <a:gd name="connsiteX22" fmla="*/ 1956122 w 3221102"/>
                <a:gd name="connsiteY22" fmla="*/ 1110076 h 3221116"/>
                <a:gd name="connsiteX23" fmla="*/ 1973374 w 3221102"/>
                <a:gd name="connsiteY23" fmla="*/ 875315 h 3221116"/>
                <a:gd name="connsiteX24" fmla="*/ 2333414 w 3221102"/>
                <a:gd name="connsiteY24" fmla="*/ 875315 h 3221116"/>
                <a:gd name="connsiteX25" fmla="*/ 2324788 w 3221102"/>
                <a:gd name="connsiteY25" fmla="*/ 2054049 h 3221116"/>
                <a:gd name="connsiteX26" fmla="*/ 2661746 w 3221102"/>
                <a:gd name="connsiteY26" fmla="*/ 2179658 h 3221116"/>
                <a:gd name="connsiteX27" fmla="*/ 2691046 w 3221102"/>
                <a:gd name="connsiteY27" fmla="*/ 2188689 h 3221116"/>
                <a:gd name="connsiteX28" fmla="*/ 2667011 w 3221102"/>
                <a:gd name="connsiteY28" fmla="*/ 2175828 h 3221116"/>
                <a:gd name="connsiteX29" fmla="*/ 2332141 w 3221102"/>
                <a:gd name="connsiteY29" fmla="*/ 653899 h 3221116"/>
                <a:gd name="connsiteX30" fmla="*/ 776764 w 3221102"/>
                <a:gd name="connsiteY30" fmla="*/ 749845 h 3221116"/>
                <a:gd name="connsiteX31" fmla="*/ 631487 w 3221102"/>
                <a:gd name="connsiteY31" fmla="*/ 2301392 h 3221116"/>
                <a:gd name="connsiteX32" fmla="*/ 2142017 w 3221102"/>
                <a:gd name="connsiteY32" fmla="*/ 2684410 h 3221116"/>
                <a:gd name="connsiteX33" fmla="*/ 2324866 w 3221102"/>
                <a:gd name="connsiteY33" fmla="*/ 3053856 h 3221116"/>
                <a:gd name="connsiteX34" fmla="*/ 294693 w 3221102"/>
                <a:gd name="connsiteY34" fmla="*/ 2539075 h 3221116"/>
                <a:gd name="connsiteX35" fmla="*/ 489947 w 3221102"/>
                <a:gd name="connsiteY35" fmla="*/ 453774 h 3221116"/>
                <a:gd name="connsiteX36" fmla="*/ 1651152 w 3221102"/>
                <a:gd name="connsiteY36" fmla="*/ 501 h 3221116"/>
                <a:gd name="connsiteX0" fmla="*/ 2664630 w 3221102"/>
                <a:gd name="connsiteY0" fmla="*/ 2175617 h 3221116"/>
                <a:gd name="connsiteX1" fmla="*/ 2658205 w 3221102"/>
                <a:gd name="connsiteY1" fmla="*/ 2178566 h 3221116"/>
                <a:gd name="connsiteX2" fmla="*/ 2664630 w 3221102"/>
                <a:gd name="connsiteY2" fmla="*/ 2175617 h 3221116"/>
                <a:gd name="connsiteX3" fmla="*/ 1477043 w 3221102"/>
                <a:gd name="connsiteY3" fmla="*/ 1144372 h 3221116"/>
                <a:gd name="connsiteX4" fmla="*/ 1409070 w 3221102"/>
                <a:gd name="connsiteY4" fmla="*/ 1159393 h 3221116"/>
                <a:gd name="connsiteX5" fmla="*/ 1152384 w 3221102"/>
                <a:gd name="connsiteY5" fmla="*/ 1703728 h 3221116"/>
                <a:gd name="connsiteX6" fmla="*/ 1514013 w 3221102"/>
                <a:gd name="connsiteY6" fmla="*/ 2152290 h 3221116"/>
                <a:gd name="connsiteX7" fmla="*/ 1850815 w 3221102"/>
                <a:gd name="connsiteY7" fmla="*/ 1654259 h 3221116"/>
                <a:gd name="connsiteX8" fmla="*/ 1830467 w 3221102"/>
                <a:gd name="connsiteY8" fmla="*/ 1515986 h 3221116"/>
                <a:gd name="connsiteX9" fmla="*/ 1477043 w 3221102"/>
                <a:gd name="connsiteY9" fmla="*/ 1144372 h 3221116"/>
                <a:gd name="connsiteX10" fmla="*/ 1651152 w 3221102"/>
                <a:gd name="connsiteY10" fmla="*/ 501 h 3221116"/>
                <a:gd name="connsiteX11" fmla="*/ 2580395 w 3221102"/>
                <a:gd name="connsiteY11" fmla="*/ 324821 h 3221116"/>
                <a:gd name="connsiteX12" fmla="*/ 3030464 w 3221102"/>
                <a:gd name="connsiteY12" fmla="*/ 2370314 h 3221116"/>
                <a:gd name="connsiteX13" fmla="*/ 3004976 w 3221102"/>
                <a:gd name="connsiteY13" fmla="*/ 2356675 h 3221116"/>
                <a:gd name="connsiteX14" fmla="*/ 2585849 w 3221102"/>
                <a:gd name="connsiteY14" fmla="*/ 2588887 h 3221116"/>
                <a:gd name="connsiteX15" fmla="*/ 1973374 w 3221102"/>
                <a:gd name="connsiteY15" fmla="*/ 2195096 h 3221116"/>
                <a:gd name="connsiteX16" fmla="*/ 1390827 w 3221102"/>
                <a:gd name="connsiteY16" fmla="*/ 2527630 h 3221116"/>
                <a:gd name="connsiteX17" fmla="*/ 783896 w 3221102"/>
                <a:gd name="connsiteY17" fmla="*/ 1665044 h 3221116"/>
                <a:gd name="connsiteX18" fmla="*/ 1268509 w 3221102"/>
                <a:gd name="connsiteY18" fmla="*/ 819983 h 3221116"/>
                <a:gd name="connsiteX19" fmla="*/ 1328805 w 3221102"/>
                <a:gd name="connsiteY19" fmla="*/ 807930 h 3221116"/>
                <a:gd name="connsiteX20" fmla="*/ 1390827 w 3221102"/>
                <a:gd name="connsiteY20" fmla="*/ 802457 h 3221116"/>
                <a:gd name="connsiteX21" fmla="*/ 1462242 w 3221102"/>
                <a:gd name="connsiteY21" fmla="*/ 801708 h 3221116"/>
                <a:gd name="connsiteX22" fmla="*/ 1956122 w 3221102"/>
                <a:gd name="connsiteY22" fmla="*/ 1110076 h 3221116"/>
                <a:gd name="connsiteX23" fmla="*/ 1973374 w 3221102"/>
                <a:gd name="connsiteY23" fmla="*/ 875315 h 3221116"/>
                <a:gd name="connsiteX24" fmla="*/ 2333414 w 3221102"/>
                <a:gd name="connsiteY24" fmla="*/ 875315 h 3221116"/>
                <a:gd name="connsiteX25" fmla="*/ 2324788 w 3221102"/>
                <a:gd name="connsiteY25" fmla="*/ 2054049 h 3221116"/>
                <a:gd name="connsiteX26" fmla="*/ 2661746 w 3221102"/>
                <a:gd name="connsiteY26" fmla="*/ 2179658 h 3221116"/>
                <a:gd name="connsiteX27" fmla="*/ 2691046 w 3221102"/>
                <a:gd name="connsiteY27" fmla="*/ 2188689 h 3221116"/>
                <a:gd name="connsiteX28" fmla="*/ 2667011 w 3221102"/>
                <a:gd name="connsiteY28" fmla="*/ 2175828 h 3221116"/>
                <a:gd name="connsiteX29" fmla="*/ 2332141 w 3221102"/>
                <a:gd name="connsiteY29" fmla="*/ 653899 h 3221116"/>
                <a:gd name="connsiteX30" fmla="*/ 776764 w 3221102"/>
                <a:gd name="connsiteY30" fmla="*/ 749845 h 3221116"/>
                <a:gd name="connsiteX31" fmla="*/ 631487 w 3221102"/>
                <a:gd name="connsiteY31" fmla="*/ 2301392 h 3221116"/>
                <a:gd name="connsiteX32" fmla="*/ 2142017 w 3221102"/>
                <a:gd name="connsiteY32" fmla="*/ 2684410 h 3221116"/>
                <a:gd name="connsiteX33" fmla="*/ 2324866 w 3221102"/>
                <a:gd name="connsiteY33" fmla="*/ 3053856 h 3221116"/>
                <a:gd name="connsiteX34" fmla="*/ 294693 w 3221102"/>
                <a:gd name="connsiteY34" fmla="*/ 2539075 h 3221116"/>
                <a:gd name="connsiteX35" fmla="*/ 489947 w 3221102"/>
                <a:gd name="connsiteY35" fmla="*/ 453774 h 3221116"/>
                <a:gd name="connsiteX36" fmla="*/ 1651152 w 3221102"/>
                <a:gd name="connsiteY36" fmla="*/ 501 h 3221116"/>
                <a:gd name="connsiteX0" fmla="*/ 2664630 w 3221102"/>
                <a:gd name="connsiteY0" fmla="*/ 2175617 h 3221116"/>
                <a:gd name="connsiteX1" fmla="*/ 2658205 w 3221102"/>
                <a:gd name="connsiteY1" fmla="*/ 2178566 h 3221116"/>
                <a:gd name="connsiteX2" fmla="*/ 2664630 w 3221102"/>
                <a:gd name="connsiteY2" fmla="*/ 2175617 h 3221116"/>
                <a:gd name="connsiteX3" fmla="*/ 1477043 w 3221102"/>
                <a:gd name="connsiteY3" fmla="*/ 1144372 h 3221116"/>
                <a:gd name="connsiteX4" fmla="*/ 1409070 w 3221102"/>
                <a:gd name="connsiteY4" fmla="*/ 1159393 h 3221116"/>
                <a:gd name="connsiteX5" fmla="*/ 1152384 w 3221102"/>
                <a:gd name="connsiteY5" fmla="*/ 1703728 h 3221116"/>
                <a:gd name="connsiteX6" fmla="*/ 1514013 w 3221102"/>
                <a:gd name="connsiteY6" fmla="*/ 2152290 h 3221116"/>
                <a:gd name="connsiteX7" fmla="*/ 1850815 w 3221102"/>
                <a:gd name="connsiteY7" fmla="*/ 1654259 h 3221116"/>
                <a:gd name="connsiteX8" fmla="*/ 1830467 w 3221102"/>
                <a:gd name="connsiteY8" fmla="*/ 1515986 h 3221116"/>
                <a:gd name="connsiteX9" fmla="*/ 1477043 w 3221102"/>
                <a:gd name="connsiteY9" fmla="*/ 1144372 h 3221116"/>
                <a:gd name="connsiteX10" fmla="*/ 1651152 w 3221102"/>
                <a:gd name="connsiteY10" fmla="*/ 501 h 3221116"/>
                <a:gd name="connsiteX11" fmla="*/ 2580395 w 3221102"/>
                <a:gd name="connsiteY11" fmla="*/ 324821 h 3221116"/>
                <a:gd name="connsiteX12" fmla="*/ 3030464 w 3221102"/>
                <a:gd name="connsiteY12" fmla="*/ 2370314 h 3221116"/>
                <a:gd name="connsiteX13" fmla="*/ 3004976 w 3221102"/>
                <a:gd name="connsiteY13" fmla="*/ 2356675 h 3221116"/>
                <a:gd name="connsiteX14" fmla="*/ 2585849 w 3221102"/>
                <a:gd name="connsiteY14" fmla="*/ 2588887 h 3221116"/>
                <a:gd name="connsiteX15" fmla="*/ 1973374 w 3221102"/>
                <a:gd name="connsiteY15" fmla="*/ 2195096 h 3221116"/>
                <a:gd name="connsiteX16" fmla="*/ 1390827 w 3221102"/>
                <a:gd name="connsiteY16" fmla="*/ 2527630 h 3221116"/>
                <a:gd name="connsiteX17" fmla="*/ 783896 w 3221102"/>
                <a:gd name="connsiteY17" fmla="*/ 1665044 h 3221116"/>
                <a:gd name="connsiteX18" fmla="*/ 1268509 w 3221102"/>
                <a:gd name="connsiteY18" fmla="*/ 819983 h 3221116"/>
                <a:gd name="connsiteX19" fmla="*/ 1328805 w 3221102"/>
                <a:gd name="connsiteY19" fmla="*/ 807930 h 3221116"/>
                <a:gd name="connsiteX20" fmla="*/ 1390827 w 3221102"/>
                <a:gd name="connsiteY20" fmla="*/ 802457 h 3221116"/>
                <a:gd name="connsiteX21" fmla="*/ 1462242 w 3221102"/>
                <a:gd name="connsiteY21" fmla="*/ 801708 h 3221116"/>
                <a:gd name="connsiteX22" fmla="*/ 1956122 w 3221102"/>
                <a:gd name="connsiteY22" fmla="*/ 1110076 h 3221116"/>
                <a:gd name="connsiteX23" fmla="*/ 1973374 w 3221102"/>
                <a:gd name="connsiteY23" fmla="*/ 875315 h 3221116"/>
                <a:gd name="connsiteX24" fmla="*/ 2333414 w 3221102"/>
                <a:gd name="connsiteY24" fmla="*/ 875315 h 3221116"/>
                <a:gd name="connsiteX25" fmla="*/ 2324788 w 3221102"/>
                <a:gd name="connsiteY25" fmla="*/ 2054049 h 3221116"/>
                <a:gd name="connsiteX26" fmla="*/ 2661746 w 3221102"/>
                <a:gd name="connsiteY26" fmla="*/ 2179658 h 3221116"/>
                <a:gd name="connsiteX27" fmla="*/ 2691046 w 3221102"/>
                <a:gd name="connsiteY27" fmla="*/ 2188689 h 3221116"/>
                <a:gd name="connsiteX28" fmla="*/ 2667011 w 3221102"/>
                <a:gd name="connsiteY28" fmla="*/ 2175828 h 3221116"/>
                <a:gd name="connsiteX29" fmla="*/ 2332141 w 3221102"/>
                <a:gd name="connsiteY29" fmla="*/ 653899 h 3221116"/>
                <a:gd name="connsiteX30" fmla="*/ 776764 w 3221102"/>
                <a:gd name="connsiteY30" fmla="*/ 749845 h 3221116"/>
                <a:gd name="connsiteX31" fmla="*/ 631487 w 3221102"/>
                <a:gd name="connsiteY31" fmla="*/ 2301392 h 3221116"/>
                <a:gd name="connsiteX32" fmla="*/ 2142017 w 3221102"/>
                <a:gd name="connsiteY32" fmla="*/ 2684410 h 3221116"/>
                <a:gd name="connsiteX33" fmla="*/ 2324866 w 3221102"/>
                <a:gd name="connsiteY33" fmla="*/ 3053856 h 3221116"/>
                <a:gd name="connsiteX34" fmla="*/ 294693 w 3221102"/>
                <a:gd name="connsiteY34" fmla="*/ 2539075 h 3221116"/>
                <a:gd name="connsiteX35" fmla="*/ 489947 w 3221102"/>
                <a:gd name="connsiteY35" fmla="*/ 453774 h 3221116"/>
                <a:gd name="connsiteX36" fmla="*/ 1651152 w 3221102"/>
                <a:gd name="connsiteY36" fmla="*/ 501 h 3221116"/>
                <a:gd name="connsiteX0" fmla="*/ 2664630 w 3221102"/>
                <a:gd name="connsiteY0" fmla="*/ 2175617 h 3221116"/>
                <a:gd name="connsiteX1" fmla="*/ 2658205 w 3221102"/>
                <a:gd name="connsiteY1" fmla="*/ 2178566 h 3221116"/>
                <a:gd name="connsiteX2" fmla="*/ 2664630 w 3221102"/>
                <a:gd name="connsiteY2" fmla="*/ 2175617 h 3221116"/>
                <a:gd name="connsiteX3" fmla="*/ 1477043 w 3221102"/>
                <a:gd name="connsiteY3" fmla="*/ 1144372 h 3221116"/>
                <a:gd name="connsiteX4" fmla="*/ 1409070 w 3221102"/>
                <a:gd name="connsiteY4" fmla="*/ 1159393 h 3221116"/>
                <a:gd name="connsiteX5" fmla="*/ 1152384 w 3221102"/>
                <a:gd name="connsiteY5" fmla="*/ 1703728 h 3221116"/>
                <a:gd name="connsiteX6" fmla="*/ 1514013 w 3221102"/>
                <a:gd name="connsiteY6" fmla="*/ 2152290 h 3221116"/>
                <a:gd name="connsiteX7" fmla="*/ 1850815 w 3221102"/>
                <a:gd name="connsiteY7" fmla="*/ 1654259 h 3221116"/>
                <a:gd name="connsiteX8" fmla="*/ 1830467 w 3221102"/>
                <a:gd name="connsiteY8" fmla="*/ 1515986 h 3221116"/>
                <a:gd name="connsiteX9" fmla="*/ 1477043 w 3221102"/>
                <a:gd name="connsiteY9" fmla="*/ 1144372 h 3221116"/>
                <a:gd name="connsiteX10" fmla="*/ 1651152 w 3221102"/>
                <a:gd name="connsiteY10" fmla="*/ 501 h 3221116"/>
                <a:gd name="connsiteX11" fmla="*/ 2580395 w 3221102"/>
                <a:gd name="connsiteY11" fmla="*/ 324821 h 3221116"/>
                <a:gd name="connsiteX12" fmla="*/ 3030464 w 3221102"/>
                <a:gd name="connsiteY12" fmla="*/ 2370314 h 3221116"/>
                <a:gd name="connsiteX13" fmla="*/ 2585849 w 3221102"/>
                <a:gd name="connsiteY13" fmla="*/ 2588887 h 3221116"/>
                <a:gd name="connsiteX14" fmla="*/ 1973374 w 3221102"/>
                <a:gd name="connsiteY14" fmla="*/ 2195096 h 3221116"/>
                <a:gd name="connsiteX15" fmla="*/ 1390827 w 3221102"/>
                <a:gd name="connsiteY15" fmla="*/ 2527630 h 3221116"/>
                <a:gd name="connsiteX16" fmla="*/ 783896 w 3221102"/>
                <a:gd name="connsiteY16" fmla="*/ 1665044 h 3221116"/>
                <a:gd name="connsiteX17" fmla="*/ 1268509 w 3221102"/>
                <a:gd name="connsiteY17" fmla="*/ 819983 h 3221116"/>
                <a:gd name="connsiteX18" fmla="*/ 1328805 w 3221102"/>
                <a:gd name="connsiteY18" fmla="*/ 807930 h 3221116"/>
                <a:gd name="connsiteX19" fmla="*/ 1390827 w 3221102"/>
                <a:gd name="connsiteY19" fmla="*/ 802457 h 3221116"/>
                <a:gd name="connsiteX20" fmla="*/ 1462242 w 3221102"/>
                <a:gd name="connsiteY20" fmla="*/ 801708 h 3221116"/>
                <a:gd name="connsiteX21" fmla="*/ 1956122 w 3221102"/>
                <a:gd name="connsiteY21" fmla="*/ 1110076 h 3221116"/>
                <a:gd name="connsiteX22" fmla="*/ 1973374 w 3221102"/>
                <a:gd name="connsiteY22" fmla="*/ 875315 h 3221116"/>
                <a:gd name="connsiteX23" fmla="*/ 2333414 w 3221102"/>
                <a:gd name="connsiteY23" fmla="*/ 875315 h 3221116"/>
                <a:gd name="connsiteX24" fmla="*/ 2324788 w 3221102"/>
                <a:gd name="connsiteY24" fmla="*/ 2054049 h 3221116"/>
                <a:gd name="connsiteX25" fmla="*/ 2661746 w 3221102"/>
                <a:gd name="connsiteY25" fmla="*/ 2179658 h 3221116"/>
                <a:gd name="connsiteX26" fmla="*/ 2691046 w 3221102"/>
                <a:gd name="connsiteY26" fmla="*/ 2188689 h 3221116"/>
                <a:gd name="connsiteX27" fmla="*/ 2667011 w 3221102"/>
                <a:gd name="connsiteY27" fmla="*/ 2175828 h 3221116"/>
                <a:gd name="connsiteX28" fmla="*/ 2332141 w 3221102"/>
                <a:gd name="connsiteY28" fmla="*/ 653899 h 3221116"/>
                <a:gd name="connsiteX29" fmla="*/ 776764 w 3221102"/>
                <a:gd name="connsiteY29" fmla="*/ 749845 h 3221116"/>
                <a:gd name="connsiteX30" fmla="*/ 631487 w 3221102"/>
                <a:gd name="connsiteY30" fmla="*/ 2301392 h 3221116"/>
                <a:gd name="connsiteX31" fmla="*/ 2142017 w 3221102"/>
                <a:gd name="connsiteY31" fmla="*/ 2684410 h 3221116"/>
                <a:gd name="connsiteX32" fmla="*/ 2324866 w 3221102"/>
                <a:gd name="connsiteY32" fmla="*/ 3053856 h 3221116"/>
                <a:gd name="connsiteX33" fmla="*/ 294693 w 3221102"/>
                <a:gd name="connsiteY33" fmla="*/ 2539075 h 3221116"/>
                <a:gd name="connsiteX34" fmla="*/ 489947 w 3221102"/>
                <a:gd name="connsiteY34" fmla="*/ 453774 h 3221116"/>
                <a:gd name="connsiteX35" fmla="*/ 1651152 w 3221102"/>
                <a:gd name="connsiteY35" fmla="*/ 501 h 3221116"/>
                <a:gd name="connsiteX0" fmla="*/ 2664630 w 3221102"/>
                <a:gd name="connsiteY0" fmla="*/ 2175617 h 3221116"/>
                <a:gd name="connsiteX1" fmla="*/ 2658205 w 3221102"/>
                <a:gd name="connsiteY1" fmla="*/ 2178566 h 3221116"/>
                <a:gd name="connsiteX2" fmla="*/ 2664630 w 3221102"/>
                <a:gd name="connsiteY2" fmla="*/ 2175617 h 3221116"/>
                <a:gd name="connsiteX3" fmla="*/ 1477043 w 3221102"/>
                <a:gd name="connsiteY3" fmla="*/ 1144372 h 3221116"/>
                <a:gd name="connsiteX4" fmla="*/ 1409070 w 3221102"/>
                <a:gd name="connsiteY4" fmla="*/ 1159393 h 3221116"/>
                <a:gd name="connsiteX5" fmla="*/ 1152384 w 3221102"/>
                <a:gd name="connsiteY5" fmla="*/ 1703728 h 3221116"/>
                <a:gd name="connsiteX6" fmla="*/ 1514013 w 3221102"/>
                <a:gd name="connsiteY6" fmla="*/ 2152290 h 3221116"/>
                <a:gd name="connsiteX7" fmla="*/ 1850815 w 3221102"/>
                <a:gd name="connsiteY7" fmla="*/ 1654259 h 3221116"/>
                <a:gd name="connsiteX8" fmla="*/ 1830467 w 3221102"/>
                <a:gd name="connsiteY8" fmla="*/ 1515986 h 3221116"/>
                <a:gd name="connsiteX9" fmla="*/ 1477043 w 3221102"/>
                <a:gd name="connsiteY9" fmla="*/ 1144372 h 3221116"/>
                <a:gd name="connsiteX10" fmla="*/ 1651152 w 3221102"/>
                <a:gd name="connsiteY10" fmla="*/ 501 h 3221116"/>
                <a:gd name="connsiteX11" fmla="*/ 2580395 w 3221102"/>
                <a:gd name="connsiteY11" fmla="*/ 324821 h 3221116"/>
                <a:gd name="connsiteX12" fmla="*/ 3030464 w 3221102"/>
                <a:gd name="connsiteY12" fmla="*/ 2370314 h 3221116"/>
                <a:gd name="connsiteX13" fmla="*/ 2585849 w 3221102"/>
                <a:gd name="connsiteY13" fmla="*/ 2588887 h 3221116"/>
                <a:gd name="connsiteX14" fmla="*/ 1973374 w 3221102"/>
                <a:gd name="connsiteY14" fmla="*/ 2195096 h 3221116"/>
                <a:gd name="connsiteX15" fmla="*/ 1390827 w 3221102"/>
                <a:gd name="connsiteY15" fmla="*/ 2527630 h 3221116"/>
                <a:gd name="connsiteX16" fmla="*/ 783896 w 3221102"/>
                <a:gd name="connsiteY16" fmla="*/ 1665044 h 3221116"/>
                <a:gd name="connsiteX17" fmla="*/ 1268509 w 3221102"/>
                <a:gd name="connsiteY17" fmla="*/ 819983 h 3221116"/>
                <a:gd name="connsiteX18" fmla="*/ 1328805 w 3221102"/>
                <a:gd name="connsiteY18" fmla="*/ 807930 h 3221116"/>
                <a:gd name="connsiteX19" fmla="*/ 1390827 w 3221102"/>
                <a:gd name="connsiteY19" fmla="*/ 802457 h 3221116"/>
                <a:gd name="connsiteX20" fmla="*/ 1462242 w 3221102"/>
                <a:gd name="connsiteY20" fmla="*/ 801708 h 3221116"/>
                <a:gd name="connsiteX21" fmla="*/ 1956122 w 3221102"/>
                <a:gd name="connsiteY21" fmla="*/ 1110076 h 3221116"/>
                <a:gd name="connsiteX22" fmla="*/ 1973374 w 3221102"/>
                <a:gd name="connsiteY22" fmla="*/ 875315 h 3221116"/>
                <a:gd name="connsiteX23" fmla="*/ 2333414 w 3221102"/>
                <a:gd name="connsiteY23" fmla="*/ 875315 h 3221116"/>
                <a:gd name="connsiteX24" fmla="*/ 2324788 w 3221102"/>
                <a:gd name="connsiteY24" fmla="*/ 2054049 h 3221116"/>
                <a:gd name="connsiteX25" fmla="*/ 2661746 w 3221102"/>
                <a:gd name="connsiteY25" fmla="*/ 2179658 h 3221116"/>
                <a:gd name="connsiteX26" fmla="*/ 2691046 w 3221102"/>
                <a:gd name="connsiteY26" fmla="*/ 2188689 h 3221116"/>
                <a:gd name="connsiteX27" fmla="*/ 2667011 w 3221102"/>
                <a:gd name="connsiteY27" fmla="*/ 2175828 h 3221116"/>
                <a:gd name="connsiteX28" fmla="*/ 2332141 w 3221102"/>
                <a:gd name="connsiteY28" fmla="*/ 653899 h 3221116"/>
                <a:gd name="connsiteX29" fmla="*/ 776764 w 3221102"/>
                <a:gd name="connsiteY29" fmla="*/ 749845 h 3221116"/>
                <a:gd name="connsiteX30" fmla="*/ 631487 w 3221102"/>
                <a:gd name="connsiteY30" fmla="*/ 2301392 h 3221116"/>
                <a:gd name="connsiteX31" fmla="*/ 2142017 w 3221102"/>
                <a:gd name="connsiteY31" fmla="*/ 2684410 h 3221116"/>
                <a:gd name="connsiteX32" fmla="*/ 2324866 w 3221102"/>
                <a:gd name="connsiteY32" fmla="*/ 3053856 h 3221116"/>
                <a:gd name="connsiteX33" fmla="*/ 294693 w 3221102"/>
                <a:gd name="connsiteY33" fmla="*/ 2539075 h 3221116"/>
                <a:gd name="connsiteX34" fmla="*/ 489947 w 3221102"/>
                <a:gd name="connsiteY34" fmla="*/ 453774 h 3221116"/>
                <a:gd name="connsiteX35" fmla="*/ 1651152 w 3221102"/>
                <a:gd name="connsiteY35" fmla="*/ 501 h 3221116"/>
                <a:gd name="connsiteX0" fmla="*/ 2664630 w 3221102"/>
                <a:gd name="connsiteY0" fmla="*/ 2175617 h 3221116"/>
                <a:gd name="connsiteX1" fmla="*/ 2658205 w 3221102"/>
                <a:gd name="connsiteY1" fmla="*/ 2178566 h 3221116"/>
                <a:gd name="connsiteX2" fmla="*/ 2664630 w 3221102"/>
                <a:gd name="connsiteY2" fmla="*/ 2175617 h 3221116"/>
                <a:gd name="connsiteX3" fmla="*/ 1477043 w 3221102"/>
                <a:gd name="connsiteY3" fmla="*/ 1144372 h 3221116"/>
                <a:gd name="connsiteX4" fmla="*/ 1409070 w 3221102"/>
                <a:gd name="connsiteY4" fmla="*/ 1159393 h 3221116"/>
                <a:gd name="connsiteX5" fmla="*/ 1152384 w 3221102"/>
                <a:gd name="connsiteY5" fmla="*/ 1703728 h 3221116"/>
                <a:gd name="connsiteX6" fmla="*/ 1514013 w 3221102"/>
                <a:gd name="connsiteY6" fmla="*/ 2152290 h 3221116"/>
                <a:gd name="connsiteX7" fmla="*/ 1850815 w 3221102"/>
                <a:gd name="connsiteY7" fmla="*/ 1654259 h 3221116"/>
                <a:gd name="connsiteX8" fmla="*/ 1830467 w 3221102"/>
                <a:gd name="connsiteY8" fmla="*/ 1515986 h 3221116"/>
                <a:gd name="connsiteX9" fmla="*/ 1477043 w 3221102"/>
                <a:gd name="connsiteY9" fmla="*/ 1144372 h 3221116"/>
                <a:gd name="connsiteX10" fmla="*/ 1651152 w 3221102"/>
                <a:gd name="connsiteY10" fmla="*/ 501 h 3221116"/>
                <a:gd name="connsiteX11" fmla="*/ 2580395 w 3221102"/>
                <a:gd name="connsiteY11" fmla="*/ 324821 h 3221116"/>
                <a:gd name="connsiteX12" fmla="*/ 3030464 w 3221102"/>
                <a:gd name="connsiteY12" fmla="*/ 2370314 h 3221116"/>
                <a:gd name="connsiteX13" fmla="*/ 2585849 w 3221102"/>
                <a:gd name="connsiteY13" fmla="*/ 2588887 h 3221116"/>
                <a:gd name="connsiteX14" fmla="*/ 1973374 w 3221102"/>
                <a:gd name="connsiteY14" fmla="*/ 2195096 h 3221116"/>
                <a:gd name="connsiteX15" fmla="*/ 1390827 w 3221102"/>
                <a:gd name="connsiteY15" fmla="*/ 2527630 h 3221116"/>
                <a:gd name="connsiteX16" fmla="*/ 783896 w 3221102"/>
                <a:gd name="connsiteY16" fmla="*/ 1665044 h 3221116"/>
                <a:gd name="connsiteX17" fmla="*/ 1268509 w 3221102"/>
                <a:gd name="connsiteY17" fmla="*/ 819983 h 3221116"/>
                <a:gd name="connsiteX18" fmla="*/ 1328805 w 3221102"/>
                <a:gd name="connsiteY18" fmla="*/ 807930 h 3221116"/>
                <a:gd name="connsiteX19" fmla="*/ 1390827 w 3221102"/>
                <a:gd name="connsiteY19" fmla="*/ 802457 h 3221116"/>
                <a:gd name="connsiteX20" fmla="*/ 1462242 w 3221102"/>
                <a:gd name="connsiteY20" fmla="*/ 801708 h 3221116"/>
                <a:gd name="connsiteX21" fmla="*/ 1956122 w 3221102"/>
                <a:gd name="connsiteY21" fmla="*/ 1110076 h 3221116"/>
                <a:gd name="connsiteX22" fmla="*/ 1973374 w 3221102"/>
                <a:gd name="connsiteY22" fmla="*/ 875315 h 3221116"/>
                <a:gd name="connsiteX23" fmla="*/ 2333414 w 3221102"/>
                <a:gd name="connsiteY23" fmla="*/ 875315 h 3221116"/>
                <a:gd name="connsiteX24" fmla="*/ 2324788 w 3221102"/>
                <a:gd name="connsiteY24" fmla="*/ 2054049 h 3221116"/>
                <a:gd name="connsiteX25" fmla="*/ 2661746 w 3221102"/>
                <a:gd name="connsiteY25" fmla="*/ 2179658 h 3221116"/>
                <a:gd name="connsiteX26" fmla="*/ 2691046 w 3221102"/>
                <a:gd name="connsiteY26" fmla="*/ 2188689 h 3221116"/>
                <a:gd name="connsiteX27" fmla="*/ 2667011 w 3221102"/>
                <a:gd name="connsiteY27" fmla="*/ 2175828 h 3221116"/>
                <a:gd name="connsiteX28" fmla="*/ 2332141 w 3221102"/>
                <a:gd name="connsiteY28" fmla="*/ 653899 h 3221116"/>
                <a:gd name="connsiteX29" fmla="*/ 776764 w 3221102"/>
                <a:gd name="connsiteY29" fmla="*/ 749845 h 3221116"/>
                <a:gd name="connsiteX30" fmla="*/ 631487 w 3221102"/>
                <a:gd name="connsiteY30" fmla="*/ 2301392 h 3221116"/>
                <a:gd name="connsiteX31" fmla="*/ 2142017 w 3221102"/>
                <a:gd name="connsiteY31" fmla="*/ 2684410 h 3221116"/>
                <a:gd name="connsiteX32" fmla="*/ 2324866 w 3221102"/>
                <a:gd name="connsiteY32" fmla="*/ 3053856 h 3221116"/>
                <a:gd name="connsiteX33" fmla="*/ 294693 w 3221102"/>
                <a:gd name="connsiteY33" fmla="*/ 2539075 h 3221116"/>
                <a:gd name="connsiteX34" fmla="*/ 489947 w 3221102"/>
                <a:gd name="connsiteY34" fmla="*/ 453774 h 3221116"/>
                <a:gd name="connsiteX35" fmla="*/ 1651152 w 3221102"/>
                <a:gd name="connsiteY35" fmla="*/ 501 h 3221116"/>
                <a:gd name="connsiteX0" fmla="*/ 2664630 w 3221102"/>
                <a:gd name="connsiteY0" fmla="*/ 2175617 h 3221116"/>
                <a:gd name="connsiteX1" fmla="*/ 2658205 w 3221102"/>
                <a:gd name="connsiteY1" fmla="*/ 2178566 h 3221116"/>
                <a:gd name="connsiteX2" fmla="*/ 2664630 w 3221102"/>
                <a:gd name="connsiteY2" fmla="*/ 2175617 h 3221116"/>
                <a:gd name="connsiteX3" fmla="*/ 1477043 w 3221102"/>
                <a:gd name="connsiteY3" fmla="*/ 1144372 h 3221116"/>
                <a:gd name="connsiteX4" fmla="*/ 1409070 w 3221102"/>
                <a:gd name="connsiteY4" fmla="*/ 1159393 h 3221116"/>
                <a:gd name="connsiteX5" fmla="*/ 1152384 w 3221102"/>
                <a:gd name="connsiteY5" fmla="*/ 1703728 h 3221116"/>
                <a:gd name="connsiteX6" fmla="*/ 1514013 w 3221102"/>
                <a:gd name="connsiteY6" fmla="*/ 2152290 h 3221116"/>
                <a:gd name="connsiteX7" fmla="*/ 1850815 w 3221102"/>
                <a:gd name="connsiteY7" fmla="*/ 1654259 h 3221116"/>
                <a:gd name="connsiteX8" fmla="*/ 1830467 w 3221102"/>
                <a:gd name="connsiteY8" fmla="*/ 1515986 h 3221116"/>
                <a:gd name="connsiteX9" fmla="*/ 1477043 w 3221102"/>
                <a:gd name="connsiteY9" fmla="*/ 1144372 h 3221116"/>
                <a:gd name="connsiteX10" fmla="*/ 1651152 w 3221102"/>
                <a:gd name="connsiteY10" fmla="*/ 501 h 3221116"/>
                <a:gd name="connsiteX11" fmla="*/ 2580395 w 3221102"/>
                <a:gd name="connsiteY11" fmla="*/ 324821 h 3221116"/>
                <a:gd name="connsiteX12" fmla="*/ 3030464 w 3221102"/>
                <a:gd name="connsiteY12" fmla="*/ 2370314 h 3221116"/>
                <a:gd name="connsiteX13" fmla="*/ 2585849 w 3221102"/>
                <a:gd name="connsiteY13" fmla="*/ 2588887 h 3221116"/>
                <a:gd name="connsiteX14" fmla="*/ 1973374 w 3221102"/>
                <a:gd name="connsiteY14" fmla="*/ 2195096 h 3221116"/>
                <a:gd name="connsiteX15" fmla="*/ 1390827 w 3221102"/>
                <a:gd name="connsiteY15" fmla="*/ 2527630 h 3221116"/>
                <a:gd name="connsiteX16" fmla="*/ 783896 w 3221102"/>
                <a:gd name="connsiteY16" fmla="*/ 1665044 h 3221116"/>
                <a:gd name="connsiteX17" fmla="*/ 1268509 w 3221102"/>
                <a:gd name="connsiteY17" fmla="*/ 819983 h 3221116"/>
                <a:gd name="connsiteX18" fmla="*/ 1328805 w 3221102"/>
                <a:gd name="connsiteY18" fmla="*/ 807930 h 3221116"/>
                <a:gd name="connsiteX19" fmla="*/ 1390827 w 3221102"/>
                <a:gd name="connsiteY19" fmla="*/ 802457 h 3221116"/>
                <a:gd name="connsiteX20" fmla="*/ 1462242 w 3221102"/>
                <a:gd name="connsiteY20" fmla="*/ 801708 h 3221116"/>
                <a:gd name="connsiteX21" fmla="*/ 1956122 w 3221102"/>
                <a:gd name="connsiteY21" fmla="*/ 1110076 h 3221116"/>
                <a:gd name="connsiteX22" fmla="*/ 1973374 w 3221102"/>
                <a:gd name="connsiteY22" fmla="*/ 875315 h 3221116"/>
                <a:gd name="connsiteX23" fmla="*/ 2333414 w 3221102"/>
                <a:gd name="connsiteY23" fmla="*/ 875315 h 3221116"/>
                <a:gd name="connsiteX24" fmla="*/ 2324788 w 3221102"/>
                <a:gd name="connsiteY24" fmla="*/ 2054049 h 3221116"/>
                <a:gd name="connsiteX25" fmla="*/ 2661746 w 3221102"/>
                <a:gd name="connsiteY25" fmla="*/ 2179658 h 3221116"/>
                <a:gd name="connsiteX26" fmla="*/ 2691046 w 3221102"/>
                <a:gd name="connsiteY26" fmla="*/ 2188689 h 3221116"/>
                <a:gd name="connsiteX27" fmla="*/ 2667011 w 3221102"/>
                <a:gd name="connsiteY27" fmla="*/ 2175828 h 3221116"/>
                <a:gd name="connsiteX28" fmla="*/ 2332141 w 3221102"/>
                <a:gd name="connsiteY28" fmla="*/ 653899 h 3221116"/>
                <a:gd name="connsiteX29" fmla="*/ 776764 w 3221102"/>
                <a:gd name="connsiteY29" fmla="*/ 749845 h 3221116"/>
                <a:gd name="connsiteX30" fmla="*/ 631487 w 3221102"/>
                <a:gd name="connsiteY30" fmla="*/ 2301392 h 3221116"/>
                <a:gd name="connsiteX31" fmla="*/ 2142017 w 3221102"/>
                <a:gd name="connsiteY31" fmla="*/ 2684410 h 3221116"/>
                <a:gd name="connsiteX32" fmla="*/ 2324866 w 3221102"/>
                <a:gd name="connsiteY32" fmla="*/ 3053856 h 3221116"/>
                <a:gd name="connsiteX33" fmla="*/ 294693 w 3221102"/>
                <a:gd name="connsiteY33" fmla="*/ 2539075 h 3221116"/>
                <a:gd name="connsiteX34" fmla="*/ 489947 w 3221102"/>
                <a:gd name="connsiteY34" fmla="*/ 453774 h 3221116"/>
                <a:gd name="connsiteX35" fmla="*/ 1651152 w 3221102"/>
                <a:gd name="connsiteY35" fmla="*/ 501 h 3221116"/>
                <a:gd name="connsiteX0" fmla="*/ 2664630 w 3221102"/>
                <a:gd name="connsiteY0" fmla="*/ 2175617 h 3221116"/>
                <a:gd name="connsiteX1" fmla="*/ 2658205 w 3221102"/>
                <a:gd name="connsiteY1" fmla="*/ 2178566 h 3221116"/>
                <a:gd name="connsiteX2" fmla="*/ 2664630 w 3221102"/>
                <a:gd name="connsiteY2" fmla="*/ 2175617 h 3221116"/>
                <a:gd name="connsiteX3" fmla="*/ 1477043 w 3221102"/>
                <a:gd name="connsiteY3" fmla="*/ 1144372 h 3221116"/>
                <a:gd name="connsiteX4" fmla="*/ 1409070 w 3221102"/>
                <a:gd name="connsiteY4" fmla="*/ 1159393 h 3221116"/>
                <a:gd name="connsiteX5" fmla="*/ 1152384 w 3221102"/>
                <a:gd name="connsiteY5" fmla="*/ 1703728 h 3221116"/>
                <a:gd name="connsiteX6" fmla="*/ 1514013 w 3221102"/>
                <a:gd name="connsiteY6" fmla="*/ 2152290 h 3221116"/>
                <a:gd name="connsiteX7" fmla="*/ 1850815 w 3221102"/>
                <a:gd name="connsiteY7" fmla="*/ 1654259 h 3221116"/>
                <a:gd name="connsiteX8" fmla="*/ 1830467 w 3221102"/>
                <a:gd name="connsiteY8" fmla="*/ 1515986 h 3221116"/>
                <a:gd name="connsiteX9" fmla="*/ 1477043 w 3221102"/>
                <a:gd name="connsiteY9" fmla="*/ 1144372 h 3221116"/>
                <a:gd name="connsiteX10" fmla="*/ 1651152 w 3221102"/>
                <a:gd name="connsiteY10" fmla="*/ 501 h 3221116"/>
                <a:gd name="connsiteX11" fmla="*/ 2580395 w 3221102"/>
                <a:gd name="connsiteY11" fmla="*/ 324821 h 3221116"/>
                <a:gd name="connsiteX12" fmla="*/ 3030464 w 3221102"/>
                <a:gd name="connsiteY12" fmla="*/ 2370314 h 3221116"/>
                <a:gd name="connsiteX13" fmla="*/ 2585849 w 3221102"/>
                <a:gd name="connsiteY13" fmla="*/ 2588887 h 3221116"/>
                <a:gd name="connsiteX14" fmla="*/ 1973374 w 3221102"/>
                <a:gd name="connsiteY14" fmla="*/ 2195096 h 3221116"/>
                <a:gd name="connsiteX15" fmla="*/ 1390827 w 3221102"/>
                <a:gd name="connsiteY15" fmla="*/ 2527630 h 3221116"/>
                <a:gd name="connsiteX16" fmla="*/ 783896 w 3221102"/>
                <a:gd name="connsiteY16" fmla="*/ 1665044 h 3221116"/>
                <a:gd name="connsiteX17" fmla="*/ 1268509 w 3221102"/>
                <a:gd name="connsiteY17" fmla="*/ 819983 h 3221116"/>
                <a:gd name="connsiteX18" fmla="*/ 1328805 w 3221102"/>
                <a:gd name="connsiteY18" fmla="*/ 807930 h 3221116"/>
                <a:gd name="connsiteX19" fmla="*/ 1390827 w 3221102"/>
                <a:gd name="connsiteY19" fmla="*/ 802457 h 3221116"/>
                <a:gd name="connsiteX20" fmla="*/ 1462242 w 3221102"/>
                <a:gd name="connsiteY20" fmla="*/ 801708 h 3221116"/>
                <a:gd name="connsiteX21" fmla="*/ 1956122 w 3221102"/>
                <a:gd name="connsiteY21" fmla="*/ 1110076 h 3221116"/>
                <a:gd name="connsiteX22" fmla="*/ 1973374 w 3221102"/>
                <a:gd name="connsiteY22" fmla="*/ 875315 h 3221116"/>
                <a:gd name="connsiteX23" fmla="*/ 2333414 w 3221102"/>
                <a:gd name="connsiteY23" fmla="*/ 875315 h 3221116"/>
                <a:gd name="connsiteX24" fmla="*/ 2324788 w 3221102"/>
                <a:gd name="connsiteY24" fmla="*/ 2054049 h 3221116"/>
                <a:gd name="connsiteX25" fmla="*/ 2661746 w 3221102"/>
                <a:gd name="connsiteY25" fmla="*/ 2179658 h 3221116"/>
                <a:gd name="connsiteX26" fmla="*/ 2691046 w 3221102"/>
                <a:gd name="connsiteY26" fmla="*/ 2188689 h 3221116"/>
                <a:gd name="connsiteX27" fmla="*/ 2667011 w 3221102"/>
                <a:gd name="connsiteY27" fmla="*/ 2175828 h 3221116"/>
                <a:gd name="connsiteX28" fmla="*/ 2332141 w 3221102"/>
                <a:gd name="connsiteY28" fmla="*/ 653899 h 3221116"/>
                <a:gd name="connsiteX29" fmla="*/ 776764 w 3221102"/>
                <a:gd name="connsiteY29" fmla="*/ 749845 h 3221116"/>
                <a:gd name="connsiteX30" fmla="*/ 631487 w 3221102"/>
                <a:gd name="connsiteY30" fmla="*/ 2301392 h 3221116"/>
                <a:gd name="connsiteX31" fmla="*/ 2142017 w 3221102"/>
                <a:gd name="connsiteY31" fmla="*/ 2684410 h 3221116"/>
                <a:gd name="connsiteX32" fmla="*/ 2324866 w 3221102"/>
                <a:gd name="connsiteY32" fmla="*/ 3053856 h 3221116"/>
                <a:gd name="connsiteX33" fmla="*/ 294693 w 3221102"/>
                <a:gd name="connsiteY33" fmla="*/ 2539075 h 3221116"/>
                <a:gd name="connsiteX34" fmla="*/ 489947 w 3221102"/>
                <a:gd name="connsiteY34" fmla="*/ 453774 h 3221116"/>
                <a:gd name="connsiteX35" fmla="*/ 1651152 w 3221102"/>
                <a:gd name="connsiteY35" fmla="*/ 501 h 3221116"/>
                <a:gd name="connsiteX0" fmla="*/ 2664630 w 3151233"/>
                <a:gd name="connsiteY0" fmla="*/ 2175617 h 3221116"/>
                <a:gd name="connsiteX1" fmla="*/ 2658205 w 3151233"/>
                <a:gd name="connsiteY1" fmla="*/ 2178566 h 3221116"/>
                <a:gd name="connsiteX2" fmla="*/ 2664630 w 3151233"/>
                <a:gd name="connsiteY2" fmla="*/ 2175617 h 3221116"/>
                <a:gd name="connsiteX3" fmla="*/ 1477043 w 3151233"/>
                <a:gd name="connsiteY3" fmla="*/ 1144372 h 3221116"/>
                <a:gd name="connsiteX4" fmla="*/ 1409070 w 3151233"/>
                <a:gd name="connsiteY4" fmla="*/ 1159393 h 3221116"/>
                <a:gd name="connsiteX5" fmla="*/ 1152384 w 3151233"/>
                <a:gd name="connsiteY5" fmla="*/ 1703728 h 3221116"/>
                <a:gd name="connsiteX6" fmla="*/ 1514013 w 3151233"/>
                <a:gd name="connsiteY6" fmla="*/ 2152290 h 3221116"/>
                <a:gd name="connsiteX7" fmla="*/ 1850815 w 3151233"/>
                <a:gd name="connsiteY7" fmla="*/ 1654259 h 3221116"/>
                <a:gd name="connsiteX8" fmla="*/ 1830467 w 3151233"/>
                <a:gd name="connsiteY8" fmla="*/ 1515986 h 3221116"/>
                <a:gd name="connsiteX9" fmla="*/ 1477043 w 3151233"/>
                <a:gd name="connsiteY9" fmla="*/ 1144372 h 3221116"/>
                <a:gd name="connsiteX10" fmla="*/ 1651152 w 3151233"/>
                <a:gd name="connsiteY10" fmla="*/ 501 h 3221116"/>
                <a:gd name="connsiteX11" fmla="*/ 2580395 w 3151233"/>
                <a:gd name="connsiteY11" fmla="*/ 324821 h 3221116"/>
                <a:gd name="connsiteX12" fmla="*/ 3030464 w 3151233"/>
                <a:gd name="connsiteY12" fmla="*/ 2249544 h 3221116"/>
                <a:gd name="connsiteX13" fmla="*/ 2585849 w 3151233"/>
                <a:gd name="connsiteY13" fmla="*/ 2588887 h 3221116"/>
                <a:gd name="connsiteX14" fmla="*/ 1973374 w 3151233"/>
                <a:gd name="connsiteY14" fmla="*/ 2195096 h 3221116"/>
                <a:gd name="connsiteX15" fmla="*/ 1390827 w 3151233"/>
                <a:gd name="connsiteY15" fmla="*/ 2527630 h 3221116"/>
                <a:gd name="connsiteX16" fmla="*/ 783896 w 3151233"/>
                <a:gd name="connsiteY16" fmla="*/ 1665044 h 3221116"/>
                <a:gd name="connsiteX17" fmla="*/ 1268509 w 3151233"/>
                <a:gd name="connsiteY17" fmla="*/ 819983 h 3221116"/>
                <a:gd name="connsiteX18" fmla="*/ 1328805 w 3151233"/>
                <a:gd name="connsiteY18" fmla="*/ 807930 h 3221116"/>
                <a:gd name="connsiteX19" fmla="*/ 1390827 w 3151233"/>
                <a:gd name="connsiteY19" fmla="*/ 802457 h 3221116"/>
                <a:gd name="connsiteX20" fmla="*/ 1462242 w 3151233"/>
                <a:gd name="connsiteY20" fmla="*/ 801708 h 3221116"/>
                <a:gd name="connsiteX21" fmla="*/ 1956122 w 3151233"/>
                <a:gd name="connsiteY21" fmla="*/ 1110076 h 3221116"/>
                <a:gd name="connsiteX22" fmla="*/ 1973374 w 3151233"/>
                <a:gd name="connsiteY22" fmla="*/ 875315 h 3221116"/>
                <a:gd name="connsiteX23" fmla="*/ 2333414 w 3151233"/>
                <a:gd name="connsiteY23" fmla="*/ 875315 h 3221116"/>
                <a:gd name="connsiteX24" fmla="*/ 2324788 w 3151233"/>
                <a:gd name="connsiteY24" fmla="*/ 2054049 h 3221116"/>
                <a:gd name="connsiteX25" fmla="*/ 2661746 w 3151233"/>
                <a:gd name="connsiteY25" fmla="*/ 2179658 h 3221116"/>
                <a:gd name="connsiteX26" fmla="*/ 2691046 w 3151233"/>
                <a:gd name="connsiteY26" fmla="*/ 2188689 h 3221116"/>
                <a:gd name="connsiteX27" fmla="*/ 2667011 w 3151233"/>
                <a:gd name="connsiteY27" fmla="*/ 2175828 h 3221116"/>
                <a:gd name="connsiteX28" fmla="*/ 2332141 w 3151233"/>
                <a:gd name="connsiteY28" fmla="*/ 653899 h 3221116"/>
                <a:gd name="connsiteX29" fmla="*/ 776764 w 3151233"/>
                <a:gd name="connsiteY29" fmla="*/ 749845 h 3221116"/>
                <a:gd name="connsiteX30" fmla="*/ 631487 w 3151233"/>
                <a:gd name="connsiteY30" fmla="*/ 2301392 h 3221116"/>
                <a:gd name="connsiteX31" fmla="*/ 2142017 w 3151233"/>
                <a:gd name="connsiteY31" fmla="*/ 2684410 h 3221116"/>
                <a:gd name="connsiteX32" fmla="*/ 2324866 w 3151233"/>
                <a:gd name="connsiteY32" fmla="*/ 3053856 h 3221116"/>
                <a:gd name="connsiteX33" fmla="*/ 294693 w 3151233"/>
                <a:gd name="connsiteY33" fmla="*/ 2539075 h 3221116"/>
                <a:gd name="connsiteX34" fmla="*/ 489947 w 3151233"/>
                <a:gd name="connsiteY34" fmla="*/ 453774 h 3221116"/>
                <a:gd name="connsiteX35" fmla="*/ 1651152 w 3151233"/>
                <a:gd name="connsiteY35" fmla="*/ 501 h 3221116"/>
                <a:gd name="connsiteX0" fmla="*/ 2664630 w 3161851"/>
                <a:gd name="connsiteY0" fmla="*/ 2175617 h 3221116"/>
                <a:gd name="connsiteX1" fmla="*/ 2658205 w 3161851"/>
                <a:gd name="connsiteY1" fmla="*/ 2178566 h 3221116"/>
                <a:gd name="connsiteX2" fmla="*/ 2664630 w 3161851"/>
                <a:gd name="connsiteY2" fmla="*/ 2175617 h 3221116"/>
                <a:gd name="connsiteX3" fmla="*/ 1477043 w 3161851"/>
                <a:gd name="connsiteY3" fmla="*/ 1144372 h 3221116"/>
                <a:gd name="connsiteX4" fmla="*/ 1409070 w 3161851"/>
                <a:gd name="connsiteY4" fmla="*/ 1159393 h 3221116"/>
                <a:gd name="connsiteX5" fmla="*/ 1152384 w 3161851"/>
                <a:gd name="connsiteY5" fmla="*/ 1703728 h 3221116"/>
                <a:gd name="connsiteX6" fmla="*/ 1514013 w 3161851"/>
                <a:gd name="connsiteY6" fmla="*/ 2152290 h 3221116"/>
                <a:gd name="connsiteX7" fmla="*/ 1850815 w 3161851"/>
                <a:gd name="connsiteY7" fmla="*/ 1654259 h 3221116"/>
                <a:gd name="connsiteX8" fmla="*/ 1830467 w 3161851"/>
                <a:gd name="connsiteY8" fmla="*/ 1515986 h 3221116"/>
                <a:gd name="connsiteX9" fmla="*/ 1477043 w 3161851"/>
                <a:gd name="connsiteY9" fmla="*/ 1144372 h 3221116"/>
                <a:gd name="connsiteX10" fmla="*/ 1651152 w 3161851"/>
                <a:gd name="connsiteY10" fmla="*/ 501 h 3221116"/>
                <a:gd name="connsiteX11" fmla="*/ 2580395 w 3161851"/>
                <a:gd name="connsiteY11" fmla="*/ 324821 h 3221116"/>
                <a:gd name="connsiteX12" fmla="*/ 3030464 w 3161851"/>
                <a:gd name="connsiteY12" fmla="*/ 2249544 h 3221116"/>
                <a:gd name="connsiteX13" fmla="*/ 2585849 w 3161851"/>
                <a:gd name="connsiteY13" fmla="*/ 2588887 h 3221116"/>
                <a:gd name="connsiteX14" fmla="*/ 1973374 w 3161851"/>
                <a:gd name="connsiteY14" fmla="*/ 2195096 h 3221116"/>
                <a:gd name="connsiteX15" fmla="*/ 1390827 w 3161851"/>
                <a:gd name="connsiteY15" fmla="*/ 2527630 h 3221116"/>
                <a:gd name="connsiteX16" fmla="*/ 783896 w 3161851"/>
                <a:gd name="connsiteY16" fmla="*/ 1665044 h 3221116"/>
                <a:gd name="connsiteX17" fmla="*/ 1268509 w 3161851"/>
                <a:gd name="connsiteY17" fmla="*/ 819983 h 3221116"/>
                <a:gd name="connsiteX18" fmla="*/ 1328805 w 3161851"/>
                <a:gd name="connsiteY18" fmla="*/ 807930 h 3221116"/>
                <a:gd name="connsiteX19" fmla="*/ 1390827 w 3161851"/>
                <a:gd name="connsiteY19" fmla="*/ 802457 h 3221116"/>
                <a:gd name="connsiteX20" fmla="*/ 1462242 w 3161851"/>
                <a:gd name="connsiteY20" fmla="*/ 801708 h 3221116"/>
                <a:gd name="connsiteX21" fmla="*/ 1956122 w 3161851"/>
                <a:gd name="connsiteY21" fmla="*/ 1110076 h 3221116"/>
                <a:gd name="connsiteX22" fmla="*/ 1973374 w 3161851"/>
                <a:gd name="connsiteY22" fmla="*/ 875315 h 3221116"/>
                <a:gd name="connsiteX23" fmla="*/ 2333414 w 3161851"/>
                <a:gd name="connsiteY23" fmla="*/ 875315 h 3221116"/>
                <a:gd name="connsiteX24" fmla="*/ 2324788 w 3161851"/>
                <a:gd name="connsiteY24" fmla="*/ 2054049 h 3221116"/>
                <a:gd name="connsiteX25" fmla="*/ 2661746 w 3161851"/>
                <a:gd name="connsiteY25" fmla="*/ 2179658 h 3221116"/>
                <a:gd name="connsiteX26" fmla="*/ 2691046 w 3161851"/>
                <a:gd name="connsiteY26" fmla="*/ 2188689 h 3221116"/>
                <a:gd name="connsiteX27" fmla="*/ 2667011 w 3161851"/>
                <a:gd name="connsiteY27" fmla="*/ 2175828 h 3221116"/>
                <a:gd name="connsiteX28" fmla="*/ 2332141 w 3161851"/>
                <a:gd name="connsiteY28" fmla="*/ 653899 h 3221116"/>
                <a:gd name="connsiteX29" fmla="*/ 776764 w 3161851"/>
                <a:gd name="connsiteY29" fmla="*/ 749845 h 3221116"/>
                <a:gd name="connsiteX30" fmla="*/ 631487 w 3161851"/>
                <a:gd name="connsiteY30" fmla="*/ 2301392 h 3221116"/>
                <a:gd name="connsiteX31" fmla="*/ 2142017 w 3161851"/>
                <a:gd name="connsiteY31" fmla="*/ 2684410 h 3221116"/>
                <a:gd name="connsiteX32" fmla="*/ 2324866 w 3161851"/>
                <a:gd name="connsiteY32" fmla="*/ 3053856 h 3221116"/>
                <a:gd name="connsiteX33" fmla="*/ 294693 w 3161851"/>
                <a:gd name="connsiteY33" fmla="*/ 2539075 h 3221116"/>
                <a:gd name="connsiteX34" fmla="*/ 489947 w 3161851"/>
                <a:gd name="connsiteY34" fmla="*/ 453774 h 3221116"/>
                <a:gd name="connsiteX35" fmla="*/ 1651152 w 3161851"/>
                <a:gd name="connsiteY35" fmla="*/ 501 h 3221116"/>
                <a:gd name="connsiteX0" fmla="*/ 2664630 w 3182629"/>
                <a:gd name="connsiteY0" fmla="*/ 2175617 h 3221116"/>
                <a:gd name="connsiteX1" fmla="*/ 2658205 w 3182629"/>
                <a:gd name="connsiteY1" fmla="*/ 2178566 h 3221116"/>
                <a:gd name="connsiteX2" fmla="*/ 2664630 w 3182629"/>
                <a:gd name="connsiteY2" fmla="*/ 2175617 h 3221116"/>
                <a:gd name="connsiteX3" fmla="*/ 1477043 w 3182629"/>
                <a:gd name="connsiteY3" fmla="*/ 1144372 h 3221116"/>
                <a:gd name="connsiteX4" fmla="*/ 1409070 w 3182629"/>
                <a:gd name="connsiteY4" fmla="*/ 1159393 h 3221116"/>
                <a:gd name="connsiteX5" fmla="*/ 1152384 w 3182629"/>
                <a:gd name="connsiteY5" fmla="*/ 1703728 h 3221116"/>
                <a:gd name="connsiteX6" fmla="*/ 1514013 w 3182629"/>
                <a:gd name="connsiteY6" fmla="*/ 2152290 h 3221116"/>
                <a:gd name="connsiteX7" fmla="*/ 1850815 w 3182629"/>
                <a:gd name="connsiteY7" fmla="*/ 1654259 h 3221116"/>
                <a:gd name="connsiteX8" fmla="*/ 1830467 w 3182629"/>
                <a:gd name="connsiteY8" fmla="*/ 1515986 h 3221116"/>
                <a:gd name="connsiteX9" fmla="*/ 1477043 w 3182629"/>
                <a:gd name="connsiteY9" fmla="*/ 1144372 h 3221116"/>
                <a:gd name="connsiteX10" fmla="*/ 1651152 w 3182629"/>
                <a:gd name="connsiteY10" fmla="*/ 501 h 3221116"/>
                <a:gd name="connsiteX11" fmla="*/ 2580395 w 3182629"/>
                <a:gd name="connsiteY11" fmla="*/ 324821 h 3221116"/>
                <a:gd name="connsiteX12" fmla="*/ 3030464 w 3182629"/>
                <a:gd name="connsiteY12" fmla="*/ 2249544 h 3221116"/>
                <a:gd name="connsiteX13" fmla="*/ 2585849 w 3182629"/>
                <a:gd name="connsiteY13" fmla="*/ 2588887 h 3221116"/>
                <a:gd name="connsiteX14" fmla="*/ 1973374 w 3182629"/>
                <a:gd name="connsiteY14" fmla="*/ 2195096 h 3221116"/>
                <a:gd name="connsiteX15" fmla="*/ 1390827 w 3182629"/>
                <a:gd name="connsiteY15" fmla="*/ 2527630 h 3221116"/>
                <a:gd name="connsiteX16" fmla="*/ 783896 w 3182629"/>
                <a:gd name="connsiteY16" fmla="*/ 1665044 h 3221116"/>
                <a:gd name="connsiteX17" fmla="*/ 1268509 w 3182629"/>
                <a:gd name="connsiteY17" fmla="*/ 819983 h 3221116"/>
                <a:gd name="connsiteX18" fmla="*/ 1328805 w 3182629"/>
                <a:gd name="connsiteY18" fmla="*/ 807930 h 3221116"/>
                <a:gd name="connsiteX19" fmla="*/ 1390827 w 3182629"/>
                <a:gd name="connsiteY19" fmla="*/ 802457 h 3221116"/>
                <a:gd name="connsiteX20" fmla="*/ 1462242 w 3182629"/>
                <a:gd name="connsiteY20" fmla="*/ 801708 h 3221116"/>
                <a:gd name="connsiteX21" fmla="*/ 1956122 w 3182629"/>
                <a:gd name="connsiteY21" fmla="*/ 1110076 h 3221116"/>
                <a:gd name="connsiteX22" fmla="*/ 1973374 w 3182629"/>
                <a:gd name="connsiteY22" fmla="*/ 875315 h 3221116"/>
                <a:gd name="connsiteX23" fmla="*/ 2333414 w 3182629"/>
                <a:gd name="connsiteY23" fmla="*/ 875315 h 3221116"/>
                <a:gd name="connsiteX24" fmla="*/ 2324788 w 3182629"/>
                <a:gd name="connsiteY24" fmla="*/ 2054049 h 3221116"/>
                <a:gd name="connsiteX25" fmla="*/ 2661746 w 3182629"/>
                <a:gd name="connsiteY25" fmla="*/ 2179658 h 3221116"/>
                <a:gd name="connsiteX26" fmla="*/ 2691046 w 3182629"/>
                <a:gd name="connsiteY26" fmla="*/ 2188689 h 3221116"/>
                <a:gd name="connsiteX27" fmla="*/ 2667011 w 3182629"/>
                <a:gd name="connsiteY27" fmla="*/ 2175828 h 3221116"/>
                <a:gd name="connsiteX28" fmla="*/ 2332141 w 3182629"/>
                <a:gd name="connsiteY28" fmla="*/ 653899 h 3221116"/>
                <a:gd name="connsiteX29" fmla="*/ 776764 w 3182629"/>
                <a:gd name="connsiteY29" fmla="*/ 749845 h 3221116"/>
                <a:gd name="connsiteX30" fmla="*/ 631487 w 3182629"/>
                <a:gd name="connsiteY30" fmla="*/ 2301392 h 3221116"/>
                <a:gd name="connsiteX31" fmla="*/ 2142017 w 3182629"/>
                <a:gd name="connsiteY31" fmla="*/ 2684410 h 3221116"/>
                <a:gd name="connsiteX32" fmla="*/ 2324866 w 3182629"/>
                <a:gd name="connsiteY32" fmla="*/ 3053856 h 3221116"/>
                <a:gd name="connsiteX33" fmla="*/ 294693 w 3182629"/>
                <a:gd name="connsiteY33" fmla="*/ 2539075 h 3221116"/>
                <a:gd name="connsiteX34" fmla="*/ 489947 w 3182629"/>
                <a:gd name="connsiteY34" fmla="*/ 453774 h 3221116"/>
                <a:gd name="connsiteX35" fmla="*/ 1651152 w 3182629"/>
                <a:gd name="connsiteY35" fmla="*/ 501 h 3221116"/>
                <a:gd name="connsiteX0" fmla="*/ 2664630 w 3189723"/>
                <a:gd name="connsiteY0" fmla="*/ 2175617 h 3221116"/>
                <a:gd name="connsiteX1" fmla="*/ 2658205 w 3189723"/>
                <a:gd name="connsiteY1" fmla="*/ 2178566 h 3221116"/>
                <a:gd name="connsiteX2" fmla="*/ 2664630 w 3189723"/>
                <a:gd name="connsiteY2" fmla="*/ 2175617 h 3221116"/>
                <a:gd name="connsiteX3" fmla="*/ 1477043 w 3189723"/>
                <a:gd name="connsiteY3" fmla="*/ 1144372 h 3221116"/>
                <a:gd name="connsiteX4" fmla="*/ 1409070 w 3189723"/>
                <a:gd name="connsiteY4" fmla="*/ 1159393 h 3221116"/>
                <a:gd name="connsiteX5" fmla="*/ 1152384 w 3189723"/>
                <a:gd name="connsiteY5" fmla="*/ 1703728 h 3221116"/>
                <a:gd name="connsiteX6" fmla="*/ 1514013 w 3189723"/>
                <a:gd name="connsiteY6" fmla="*/ 2152290 h 3221116"/>
                <a:gd name="connsiteX7" fmla="*/ 1850815 w 3189723"/>
                <a:gd name="connsiteY7" fmla="*/ 1654259 h 3221116"/>
                <a:gd name="connsiteX8" fmla="*/ 1830467 w 3189723"/>
                <a:gd name="connsiteY8" fmla="*/ 1515986 h 3221116"/>
                <a:gd name="connsiteX9" fmla="*/ 1477043 w 3189723"/>
                <a:gd name="connsiteY9" fmla="*/ 1144372 h 3221116"/>
                <a:gd name="connsiteX10" fmla="*/ 1651152 w 3189723"/>
                <a:gd name="connsiteY10" fmla="*/ 501 h 3221116"/>
                <a:gd name="connsiteX11" fmla="*/ 2580395 w 3189723"/>
                <a:gd name="connsiteY11" fmla="*/ 324821 h 3221116"/>
                <a:gd name="connsiteX12" fmla="*/ 3030464 w 3189723"/>
                <a:gd name="connsiteY12" fmla="*/ 2249544 h 3221116"/>
                <a:gd name="connsiteX13" fmla="*/ 2585849 w 3189723"/>
                <a:gd name="connsiteY13" fmla="*/ 2588887 h 3221116"/>
                <a:gd name="connsiteX14" fmla="*/ 1973374 w 3189723"/>
                <a:gd name="connsiteY14" fmla="*/ 2195096 h 3221116"/>
                <a:gd name="connsiteX15" fmla="*/ 1390827 w 3189723"/>
                <a:gd name="connsiteY15" fmla="*/ 2527630 h 3221116"/>
                <a:gd name="connsiteX16" fmla="*/ 783896 w 3189723"/>
                <a:gd name="connsiteY16" fmla="*/ 1665044 h 3221116"/>
                <a:gd name="connsiteX17" fmla="*/ 1268509 w 3189723"/>
                <a:gd name="connsiteY17" fmla="*/ 819983 h 3221116"/>
                <a:gd name="connsiteX18" fmla="*/ 1328805 w 3189723"/>
                <a:gd name="connsiteY18" fmla="*/ 807930 h 3221116"/>
                <a:gd name="connsiteX19" fmla="*/ 1390827 w 3189723"/>
                <a:gd name="connsiteY19" fmla="*/ 802457 h 3221116"/>
                <a:gd name="connsiteX20" fmla="*/ 1462242 w 3189723"/>
                <a:gd name="connsiteY20" fmla="*/ 801708 h 3221116"/>
                <a:gd name="connsiteX21" fmla="*/ 1956122 w 3189723"/>
                <a:gd name="connsiteY21" fmla="*/ 1110076 h 3221116"/>
                <a:gd name="connsiteX22" fmla="*/ 1973374 w 3189723"/>
                <a:gd name="connsiteY22" fmla="*/ 875315 h 3221116"/>
                <a:gd name="connsiteX23" fmla="*/ 2333414 w 3189723"/>
                <a:gd name="connsiteY23" fmla="*/ 875315 h 3221116"/>
                <a:gd name="connsiteX24" fmla="*/ 2324788 w 3189723"/>
                <a:gd name="connsiteY24" fmla="*/ 2054049 h 3221116"/>
                <a:gd name="connsiteX25" fmla="*/ 2661746 w 3189723"/>
                <a:gd name="connsiteY25" fmla="*/ 2179658 h 3221116"/>
                <a:gd name="connsiteX26" fmla="*/ 2691046 w 3189723"/>
                <a:gd name="connsiteY26" fmla="*/ 2188689 h 3221116"/>
                <a:gd name="connsiteX27" fmla="*/ 2667011 w 3189723"/>
                <a:gd name="connsiteY27" fmla="*/ 2175828 h 3221116"/>
                <a:gd name="connsiteX28" fmla="*/ 2332141 w 3189723"/>
                <a:gd name="connsiteY28" fmla="*/ 653899 h 3221116"/>
                <a:gd name="connsiteX29" fmla="*/ 776764 w 3189723"/>
                <a:gd name="connsiteY29" fmla="*/ 749845 h 3221116"/>
                <a:gd name="connsiteX30" fmla="*/ 631487 w 3189723"/>
                <a:gd name="connsiteY30" fmla="*/ 2301392 h 3221116"/>
                <a:gd name="connsiteX31" fmla="*/ 2142017 w 3189723"/>
                <a:gd name="connsiteY31" fmla="*/ 2684410 h 3221116"/>
                <a:gd name="connsiteX32" fmla="*/ 2324866 w 3189723"/>
                <a:gd name="connsiteY32" fmla="*/ 3053856 h 3221116"/>
                <a:gd name="connsiteX33" fmla="*/ 294693 w 3189723"/>
                <a:gd name="connsiteY33" fmla="*/ 2539075 h 3221116"/>
                <a:gd name="connsiteX34" fmla="*/ 489947 w 3189723"/>
                <a:gd name="connsiteY34" fmla="*/ 453774 h 3221116"/>
                <a:gd name="connsiteX35" fmla="*/ 1651152 w 3189723"/>
                <a:gd name="connsiteY35" fmla="*/ 501 h 3221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189723" h="3221116">
                  <a:moveTo>
                    <a:pt x="2664630" y="2175617"/>
                  </a:moveTo>
                  <a:lnTo>
                    <a:pt x="2658205" y="2178566"/>
                  </a:lnTo>
                  <a:cubicBezTo>
                    <a:pt x="2662222" y="2175972"/>
                    <a:pt x="2664284" y="2175096"/>
                    <a:pt x="2664630" y="2175617"/>
                  </a:cubicBezTo>
                  <a:close/>
                  <a:moveTo>
                    <a:pt x="1477043" y="1144372"/>
                  </a:moveTo>
                  <a:lnTo>
                    <a:pt x="1409070" y="1159393"/>
                  </a:lnTo>
                  <a:cubicBezTo>
                    <a:pt x="1167974" y="1216277"/>
                    <a:pt x="1134894" y="1538245"/>
                    <a:pt x="1152384" y="1703728"/>
                  </a:cubicBezTo>
                  <a:cubicBezTo>
                    <a:pt x="1169874" y="1869211"/>
                    <a:pt x="1272747" y="2156947"/>
                    <a:pt x="1514013" y="2152290"/>
                  </a:cubicBezTo>
                  <a:cubicBezTo>
                    <a:pt x="1680659" y="2149073"/>
                    <a:pt x="1865876" y="1940767"/>
                    <a:pt x="1850815" y="1654259"/>
                  </a:cubicBezTo>
                  <a:cubicBezTo>
                    <a:pt x="1844015" y="1608142"/>
                    <a:pt x="1837162" y="1561942"/>
                    <a:pt x="1830467" y="1515986"/>
                  </a:cubicBezTo>
                  <a:cubicBezTo>
                    <a:pt x="1779361" y="1292438"/>
                    <a:pt x="1635542" y="1134285"/>
                    <a:pt x="1477043" y="1144372"/>
                  </a:cubicBezTo>
                  <a:close/>
                  <a:moveTo>
                    <a:pt x="1651152" y="501"/>
                  </a:moveTo>
                  <a:cubicBezTo>
                    <a:pt x="1977584" y="8635"/>
                    <a:pt x="2235425" y="52153"/>
                    <a:pt x="2580395" y="324821"/>
                  </a:cubicBezTo>
                  <a:cubicBezTo>
                    <a:pt x="3000061" y="656529"/>
                    <a:pt x="3430704" y="1549940"/>
                    <a:pt x="3030464" y="2249544"/>
                  </a:cubicBezTo>
                  <a:cubicBezTo>
                    <a:pt x="2882259" y="2451798"/>
                    <a:pt x="2785813" y="2507403"/>
                    <a:pt x="2585849" y="2588887"/>
                  </a:cubicBezTo>
                  <a:cubicBezTo>
                    <a:pt x="2194785" y="2615774"/>
                    <a:pt x="1984876" y="2478759"/>
                    <a:pt x="1973374" y="2195096"/>
                  </a:cubicBezTo>
                  <a:cubicBezTo>
                    <a:pt x="1841986" y="2496540"/>
                    <a:pt x="1610941" y="2555551"/>
                    <a:pt x="1390827" y="2527630"/>
                  </a:cubicBezTo>
                  <a:cubicBezTo>
                    <a:pt x="1131071" y="2494680"/>
                    <a:pt x="853863" y="2136270"/>
                    <a:pt x="783896" y="1665044"/>
                  </a:cubicBezTo>
                  <a:cubicBezTo>
                    <a:pt x="715204" y="1202409"/>
                    <a:pt x="991941" y="900416"/>
                    <a:pt x="1268509" y="819983"/>
                  </a:cubicBezTo>
                  <a:cubicBezTo>
                    <a:pt x="1288264" y="814237"/>
                    <a:pt x="1308391" y="810536"/>
                    <a:pt x="1328805" y="807930"/>
                  </a:cubicBezTo>
                  <a:cubicBezTo>
                    <a:pt x="1349219" y="805325"/>
                    <a:pt x="1369921" y="803817"/>
                    <a:pt x="1390827" y="802457"/>
                  </a:cubicBezTo>
                  <a:cubicBezTo>
                    <a:pt x="1416795" y="800769"/>
                    <a:pt x="1355770" y="788713"/>
                    <a:pt x="1462242" y="801708"/>
                  </a:cubicBezTo>
                  <a:cubicBezTo>
                    <a:pt x="1599590" y="818472"/>
                    <a:pt x="1776043" y="890774"/>
                    <a:pt x="1956122" y="1110076"/>
                  </a:cubicBezTo>
                  <a:lnTo>
                    <a:pt x="1973374" y="875315"/>
                  </a:lnTo>
                  <a:lnTo>
                    <a:pt x="2333414" y="875315"/>
                  </a:lnTo>
                  <a:cubicBezTo>
                    <a:pt x="2330539" y="1325736"/>
                    <a:pt x="2327663" y="1603628"/>
                    <a:pt x="2324788" y="2054049"/>
                  </a:cubicBezTo>
                  <a:cubicBezTo>
                    <a:pt x="2290850" y="2479718"/>
                    <a:pt x="2627788" y="2217580"/>
                    <a:pt x="2661746" y="2179658"/>
                  </a:cubicBezTo>
                  <a:lnTo>
                    <a:pt x="2691046" y="2188689"/>
                  </a:lnTo>
                  <a:lnTo>
                    <a:pt x="2667011" y="2175828"/>
                  </a:lnTo>
                  <a:cubicBezTo>
                    <a:pt x="2945550" y="1655295"/>
                    <a:pt x="2803444" y="1009445"/>
                    <a:pt x="2332141" y="653899"/>
                  </a:cubicBezTo>
                  <a:cubicBezTo>
                    <a:pt x="1860838" y="298353"/>
                    <a:pt x="1200794" y="339069"/>
                    <a:pt x="776764" y="749845"/>
                  </a:cubicBezTo>
                  <a:cubicBezTo>
                    <a:pt x="352733" y="1160621"/>
                    <a:pt x="291083" y="1819040"/>
                    <a:pt x="631487" y="2301392"/>
                  </a:cubicBezTo>
                  <a:cubicBezTo>
                    <a:pt x="971891" y="2783745"/>
                    <a:pt x="1612904" y="2946283"/>
                    <a:pt x="2142017" y="2684410"/>
                  </a:cubicBezTo>
                  <a:lnTo>
                    <a:pt x="2324866" y="3053856"/>
                  </a:lnTo>
                  <a:cubicBezTo>
                    <a:pt x="1613730" y="3405817"/>
                    <a:pt x="752200" y="3187363"/>
                    <a:pt x="294693" y="2539075"/>
                  </a:cubicBezTo>
                  <a:cubicBezTo>
                    <a:pt x="-162814" y="1890787"/>
                    <a:pt x="-79956" y="1005863"/>
                    <a:pt x="489947" y="453774"/>
                  </a:cubicBezTo>
                  <a:cubicBezTo>
                    <a:pt x="810518" y="143225"/>
                    <a:pt x="1231454" y="-9956"/>
                    <a:pt x="1651152" y="501"/>
                  </a:cubicBezTo>
                  <a:close/>
                </a:path>
              </a:pathLst>
            </a:cu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86">
                <a:defRPr/>
              </a:pPr>
              <a:endParaRPr lang="ko-KR" altLang="en-US" sz="2700" kern="0">
                <a:solidFill>
                  <a:prstClr val="black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</a:endParaRPr>
            </a:p>
          </p:txBody>
        </p:sp>
      </p:grp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8F139746-8A13-3CB8-2CA0-04C1C40C2FD9}"/>
              </a:ext>
            </a:extLst>
          </p:cNvPr>
          <p:cNvSpPr/>
          <p:nvPr/>
        </p:nvSpPr>
        <p:spPr>
          <a:xfrm>
            <a:off x="5189228" y="2133600"/>
            <a:ext cx="3822355" cy="2451208"/>
          </a:xfrm>
          <a:prstGeom prst="rect">
            <a:avLst/>
          </a:prstGeom>
          <a:solidFill>
            <a:srgbClr val="E3E4E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기존 표 제거하고 </a:t>
            </a:r>
            <a:endParaRPr lang="en-US" altLang="ko-KR" dirty="0">
              <a:solidFill>
                <a:schemeClr val="tx1"/>
              </a:solidFill>
            </a:endParaRPr>
          </a:p>
          <a:p>
            <a:pPr algn="ctr"/>
            <a:r>
              <a:rPr lang="ko-KR" altLang="en-US" dirty="0">
                <a:solidFill>
                  <a:schemeClr val="tx1"/>
                </a:solidFill>
              </a:rPr>
              <a:t>회사가 추구하는 가치 비전 미션</a:t>
            </a:r>
            <a:endParaRPr lang="en-US" altLang="ko-KR" dirty="0">
              <a:solidFill>
                <a:schemeClr val="tx1"/>
              </a:solidFill>
            </a:endParaRPr>
          </a:p>
          <a:p>
            <a:pPr algn="ctr"/>
            <a:r>
              <a:rPr lang="ko-KR" altLang="en-US" dirty="0">
                <a:solidFill>
                  <a:schemeClr val="tx1"/>
                </a:solidFill>
              </a:rPr>
              <a:t>도식화하기</a:t>
            </a:r>
          </a:p>
        </p:txBody>
      </p:sp>
    </p:spTree>
    <p:extLst>
      <p:ext uri="{BB962C8B-B14F-4D97-AF65-F5344CB8AC3E}">
        <p14:creationId xmlns:p14="http://schemas.microsoft.com/office/powerpoint/2010/main" val="36089730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Freeform 7">
            <a:extLst>
              <a:ext uri="{FF2B5EF4-FFF2-40B4-BE49-F238E27FC236}">
                <a16:creationId xmlns:a16="http://schemas.microsoft.com/office/drawing/2014/main" id="{A09D5277-BBB8-DAC7-C435-2342DC208615}"/>
              </a:ext>
            </a:extLst>
          </p:cNvPr>
          <p:cNvSpPr/>
          <p:nvPr/>
        </p:nvSpPr>
        <p:spPr>
          <a:xfrm>
            <a:off x="1078520" y="1781307"/>
            <a:ext cx="7748962" cy="1980000"/>
          </a:xfrm>
          <a:custGeom>
            <a:avLst/>
            <a:gdLst/>
            <a:ahLst/>
            <a:cxnLst/>
            <a:rect l="l" t="t" r="r" b="b"/>
            <a:pathLst>
              <a:path w="4274726" h="938372">
                <a:moveTo>
                  <a:pt x="0" y="0"/>
                </a:moveTo>
                <a:lnTo>
                  <a:pt x="4274726" y="0"/>
                </a:lnTo>
                <a:lnTo>
                  <a:pt x="4274726" y="938372"/>
                </a:lnTo>
                <a:lnTo>
                  <a:pt x="0" y="938372"/>
                </a:lnTo>
                <a:close/>
              </a:path>
            </a:pathLst>
          </a:custGeom>
          <a:solidFill>
            <a:srgbClr val="F4F4F4"/>
          </a:solidFill>
        </p:spPr>
        <p:txBody>
          <a:bodyPr/>
          <a:lstStyle/>
          <a:p>
            <a:endParaRPr lang="ko-KR" altLang="en-US" sz="975" dirty="0"/>
          </a:p>
        </p:txBody>
      </p:sp>
      <p:sp>
        <p:nvSpPr>
          <p:cNvPr id="61" name="Freeform 10">
            <a:extLst>
              <a:ext uri="{FF2B5EF4-FFF2-40B4-BE49-F238E27FC236}">
                <a16:creationId xmlns:a16="http://schemas.microsoft.com/office/drawing/2014/main" id="{BC0C2999-A37A-CF20-4FA9-6FB80B26E73B}"/>
              </a:ext>
            </a:extLst>
          </p:cNvPr>
          <p:cNvSpPr/>
          <p:nvPr/>
        </p:nvSpPr>
        <p:spPr>
          <a:xfrm>
            <a:off x="1078520" y="3894667"/>
            <a:ext cx="7748962" cy="1980000"/>
          </a:xfrm>
          <a:custGeom>
            <a:avLst/>
            <a:gdLst/>
            <a:ahLst/>
            <a:cxnLst/>
            <a:rect l="l" t="t" r="r" b="b"/>
            <a:pathLst>
              <a:path w="4274726" h="938372">
                <a:moveTo>
                  <a:pt x="0" y="0"/>
                </a:moveTo>
                <a:lnTo>
                  <a:pt x="4274726" y="0"/>
                </a:lnTo>
                <a:lnTo>
                  <a:pt x="4274726" y="938372"/>
                </a:lnTo>
                <a:lnTo>
                  <a:pt x="0" y="938372"/>
                </a:lnTo>
                <a:close/>
              </a:path>
            </a:pathLst>
          </a:custGeom>
          <a:solidFill>
            <a:srgbClr val="F4F4F4"/>
          </a:solidFill>
        </p:spPr>
        <p:txBody>
          <a:bodyPr/>
          <a:lstStyle/>
          <a:p>
            <a:endParaRPr lang="ko-KR" altLang="en-US" sz="975"/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F40318FD-D9E5-71A7-4062-0A0B7D3E40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BUSINESS PART</a:t>
            </a:r>
            <a:endParaRPr lang="ko-KR" altLang="en-US" dirty="0"/>
          </a:p>
        </p:txBody>
      </p:sp>
      <p:grpSp>
        <p:nvGrpSpPr>
          <p:cNvPr id="62" name="그룹 61">
            <a:extLst>
              <a:ext uri="{FF2B5EF4-FFF2-40B4-BE49-F238E27FC236}">
                <a16:creationId xmlns:a16="http://schemas.microsoft.com/office/drawing/2014/main" id="{DD86C20C-99C7-D412-EA53-DF9FF6324BAC}"/>
              </a:ext>
            </a:extLst>
          </p:cNvPr>
          <p:cNvGrpSpPr/>
          <p:nvPr/>
        </p:nvGrpSpPr>
        <p:grpSpPr>
          <a:xfrm>
            <a:off x="4964204" y="2128128"/>
            <a:ext cx="1286359" cy="1286359"/>
            <a:chOff x="5059454" y="2071997"/>
            <a:chExt cx="1286359" cy="1286359"/>
          </a:xfrm>
        </p:grpSpPr>
        <p:grpSp>
          <p:nvGrpSpPr>
            <p:cNvPr id="5" name="Group 13">
              <a:extLst>
                <a:ext uri="{FF2B5EF4-FFF2-40B4-BE49-F238E27FC236}">
                  <a16:creationId xmlns:a16="http://schemas.microsoft.com/office/drawing/2014/main" id="{2A24DC78-C7D8-7BB0-B908-8EEE8F483927}"/>
                </a:ext>
              </a:extLst>
            </p:cNvPr>
            <p:cNvGrpSpPr/>
            <p:nvPr/>
          </p:nvGrpSpPr>
          <p:grpSpPr>
            <a:xfrm>
              <a:off x="5059454" y="2071997"/>
              <a:ext cx="1286359" cy="1286359"/>
              <a:chOff x="0" y="0"/>
              <a:chExt cx="812800" cy="812800"/>
            </a:xfrm>
          </p:grpSpPr>
          <p:sp>
            <p:nvSpPr>
              <p:cNvPr id="9" name="Freeform 14">
                <a:extLst>
                  <a:ext uri="{FF2B5EF4-FFF2-40B4-BE49-F238E27FC236}">
                    <a16:creationId xmlns:a16="http://schemas.microsoft.com/office/drawing/2014/main" id="{09711D0A-6FE6-67D7-4EC7-6FCCC5ED53AF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E4F50"/>
              </a:solidFill>
            </p:spPr>
            <p:txBody>
              <a:bodyPr/>
              <a:lstStyle/>
              <a:p>
                <a:endParaRPr lang="ko-KR" altLang="en-US" sz="867" dirty="0"/>
              </a:p>
            </p:txBody>
          </p:sp>
          <p:sp>
            <p:nvSpPr>
              <p:cNvPr id="10" name="TextBox 15">
                <a:extLst>
                  <a:ext uri="{FF2B5EF4-FFF2-40B4-BE49-F238E27FC236}">
                    <a16:creationId xmlns:a16="http://schemas.microsoft.com/office/drawing/2014/main" id="{49513BC1-12A0-7288-6F8F-938FD03F778F}"/>
                  </a:ext>
                </a:extLst>
              </p:cNvPr>
              <p:cNvSpPr txBox="1"/>
              <p:nvPr/>
            </p:nvSpPr>
            <p:spPr>
              <a:xfrm>
                <a:off x="76200" y="76200"/>
                <a:ext cx="660400" cy="660400"/>
              </a:xfrm>
              <a:prstGeom prst="rect">
                <a:avLst/>
              </a:prstGeom>
            </p:spPr>
            <p:txBody>
              <a:bodyPr lIns="18777" tIns="18777" rIns="18777" bIns="18777" rtlCol="0" anchor="ctr"/>
              <a:lstStyle/>
              <a:p>
                <a:pPr algn="ctr">
                  <a:lnSpc>
                    <a:spcPts val="975"/>
                  </a:lnSpc>
                </a:pPr>
                <a:endParaRPr sz="867"/>
              </a:p>
            </p:txBody>
          </p:sp>
        </p:grpSp>
        <p:sp>
          <p:nvSpPr>
            <p:cNvPr id="6" name="Freeform 16">
              <a:extLst>
                <a:ext uri="{FF2B5EF4-FFF2-40B4-BE49-F238E27FC236}">
                  <a16:creationId xmlns:a16="http://schemas.microsoft.com/office/drawing/2014/main" id="{82E26E4B-F354-AF2E-92DD-EEF0E93964C0}"/>
                </a:ext>
              </a:extLst>
            </p:cNvPr>
            <p:cNvSpPr/>
            <p:nvPr/>
          </p:nvSpPr>
          <p:spPr>
            <a:xfrm>
              <a:off x="5351888" y="2349123"/>
              <a:ext cx="701491" cy="732107"/>
            </a:xfrm>
            <a:custGeom>
              <a:avLst/>
              <a:gdLst/>
              <a:ahLst/>
              <a:cxnLst/>
              <a:rect l="l" t="t" r="r" b="b"/>
              <a:pathLst>
                <a:path w="1726748" h="1802109">
                  <a:moveTo>
                    <a:pt x="0" y="0"/>
                  </a:moveTo>
                  <a:lnTo>
                    <a:pt x="1726748" y="0"/>
                  </a:lnTo>
                  <a:lnTo>
                    <a:pt x="1726748" y="1802109"/>
                  </a:lnTo>
                  <a:lnTo>
                    <a:pt x="0" y="180210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ko-KR" altLang="en-US" sz="867"/>
            </a:p>
          </p:txBody>
        </p:sp>
      </p:grpSp>
      <p:sp>
        <p:nvSpPr>
          <p:cNvPr id="7" name="TextBox 17">
            <a:extLst>
              <a:ext uri="{FF2B5EF4-FFF2-40B4-BE49-F238E27FC236}">
                <a16:creationId xmlns:a16="http://schemas.microsoft.com/office/drawing/2014/main" id="{0D06262E-489D-8D12-ABD2-94D6BFD74E7C}"/>
              </a:ext>
            </a:extLst>
          </p:cNvPr>
          <p:cNvSpPr txBox="1"/>
          <p:nvPr/>
        </p:nvSpPr>
        <p:spPr>
          <a:xfrm>
            <a:off x="6581167" y="2302779"/>
            <a:ext cx="1900846" cy="2510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985"/>
              </a:lnSpc>
              <a:spcBef>
                <a:spcPct val="0"/>
              </a:spcBef>
            </a:pPr>
            <a:r>
              <a:rPr lang="en-US" sz="1600" spc="82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Open Sans 1 Bold"/>
                <a:sym typeface="Open Sans 1 Bold"/>
              </a:rPr>
              <a:t>IT </a:t>
            </a:r>
            <a:r>
              <a:rPr lang="en-US" sz="1600" spc="82" dirty="0" err="1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Open Sans 1 Bold"/>
                <a:sym typeface="Open Sans 1 Bold"/>
              </a:rPr>
              <a:t>컨설팅</a:t>
            </a:r>
            <a:endParaRPr lang="en-US" sz="1600" spc="82" dirty="0">
              <a:latin typeface="나눔스퀘어 네오 Bold" panose="00000800000000000000" pitchFamily="2" charset="-127"/>
              <a:ea typeface="나눔스퀘어 네오 Bold" panose="00000800000000000000" pitchFamily="2" charset="-127"/>
              <a:cs typeface="Open Sans 1 Bold"/>
              <a:sym typeface="Open Sans 1 Bold"/>
            </a:endParaRPr>
          </a:p>
        </p:txBody>
      </p:sp>
      <p:sp>
        <p:nvSpPr>
          <p:cNvPr id="8" name="TextBox 18">
            <a:extLst>
              <a:ext uri="{FF2B5EF4-FFF2-40B4-BE49-F238E27FC236}">
                <a16:creationId xmlns:a16="http://schemas.microsoft.com/office/drawing/2014/main" id="{BBE8D7D0-3920-9708-63FD-ADDDE43836DB}"/>
              </a:ext>
            </a:extLst>
          </p:cNvPr>
          <p:cNvSpPr txBox="1"/>
          <p:nvPr/>
        </p:nvSpPr>
        <p:spPr>
          <a:xfrm>
            <a:off x="6581167" y="2715186"/>
            <a:ext cx="2163898" cy="37568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36"/>
              </a:lnSpc>
              <a:spcBef>
                <a:spcPct val="0"/>
              </a:spcBef>
            </a:pPr>
            <a:r>
              <a:rPr lang="ko-KR" altLang="en-US" sz="1100" kern="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</a:rPr>
              <a:t>금융 및 비 금융 전문 컨설턴트</a:t>
            </a:r>
            <a:endParaRPr lang="en-US" altLang="ko-KR" sz="1100" kern="0" dirty="0">
              <a:latin typeface="나눔스퀘어 네오 Regular" panose="00000500000000000000" pitchFamily="2" charset="-127"/>
              <a:ea typeface="나눔스퀘어 네오 Regular" panose="00000500000000000000" pitchFamily="2" charset="-127"/>
            </a:endParaRPr>
          </a:p>
          <a:p>
            <a:pPr>
              <a:lnSpc>
                <a:spcPts val="1536"/>
              </a:lnSpc>
              <a:spcBef>
                <a:spcPct val="0"/>
              </a:spcBef>
            </a:pPr>
            <a:r>
              <a:rPr lang="en-US" altLang="ko-KR" sz="1100" kern="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</a:rPr>
              <a:t>ERP </a:t>
            </a:r>
            <a:r>
              <a:rPr lang="ko-KR" altLang="en-US" sz="1100" kern="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</a:rPr>
              <a:t>등 솔루션 컨설팅</a:t>
            </a:r>
            <a:endParaRPr lang="en-US" sz="1100" dirty="0">
              <a:solidFill>
                <a:srgbClr val="000000"/>
              </a:solidFill>
              <a:latin typeface="나눔스퀘어 네오 Regular" panose="00000500000000000000" pitchFamily="2" charset="-127"/>
              <a:ea typeface="나눔스퀘어 네오 Regular" panose="00000500000000000000" pitchFamily="2" charset="-127"/>
              <a:cs typeface="Open Sans 1"/>
              <a:sym typeface="Open Sans 1"/>
            </a:endParaRPr>
          </a:p>
        </p:txBody>
      </p:sp>
      <p:grpSp>
        <p:nvGrpSpPr>
          <p:cNvPr id="63" name="그룹 62">
            <a:extLst>
              <a:ext uri="{FF2B5EF4-FFF2-40B4-BE49-F238E27FC236}">
                <a16:creationId xmlns:a16="http://schemas.microsoft.com/office/drawing/2014/main" id="{FA4F7E78-58B5-973E-4D30-22FD7412E055}"/>
              </a:ext>
            </a:extLst>
          </p:cNvPr>
          <p:cNvGrpSpPr/>
          <p:nvPr/>
        </p:nvGrpSpPr>
        <p:grpSpPr>
          <a:xfrm>
            <a:off x="1438698" y="2128128"/>
            <a:ext cx="1286359" cy="1286359"/>
            <a:chOff x="1610148" y="2071997"/>
            <a:chExt cx="1286359" cy="1286359"/>
          </a:xfrm>
        </p:grpSpPr>
        <p:grpSp>
          <p:nvGrpSpPr>
            <p:cNvPr id="12" name="Group 20">
              <a:extLst>
                <a:ext uri="{FF2B5EF4-FFF2-40B4-BE49-F238E27FC236}">
                  <a16:creationId xmlns:a16="http://schemas.microsoft.com/office/drawing/2014/main" id="{C2727B43-6CD8-5CC4-4C23-04C85D5CE418}"/>
                </a:ext>
              </a:extLst>
            </p:cNvPr>
            <p:cNvGrpSpPr/>
            <p:nvPr/>
          </p:nvGrpSpPr>
          <p:grpSpPr>
            <a:xfrm>
              <a:off x="1610148" y="2071997"/>
              <a:ext cx="1286359" cy="1286359"/>
              <a:chOff x="0" y="0"/>
              <a:chExt cx="812800" cy="812800"/>
            </a:xfrm>
          </p:grpSpPr>
          <p:sp>
            <p:nvSpPr>
              <p:cNvPr id="16" name="Freeform 21">
                <a:extLst>
                  <a:ext uri="{FF2B5EF4-FFF2-40B4-BE49-F238E27FC236}">
                    <a16:creationId xmlns:a16="http://schemas.microsoft.com/office/drawing/2014/main" id="{CBDED4C3-3322-4BF2-E024-D349AE5EB839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E4F50"/>
              </a:solidFill>
            </p:spPr>
            <p:txBody>
              <a:bodyPr/>
              <a:lstStyle/>
              <a:p>
                <a:endParaRPr lang="ko-KR" altLang="en-US" sz="867"/>
              </a:p>
            </p:txBody>
          </p:sp>
          <p:sp>
            <p:nvSpPr>
              <p:cNvPr id="17" name="TextBox 22">
                <a:extLst>
                  <a:ext uri="{FF2B5EF4-FFF2-40B4-BE49-F238E27FC236}">
                    <a16:creationId xmlns:a16="http://schemas.microsoft.com/office/drawing/2014/main" id="{15075D5A-2478-6202-0384-A3410FB5DB3C}"/>
                  </a:ext>
                </a:extLst>
              </p:cNvPr>
              <p:cNvSpPr txBox="1"/>
              <p:nvPr/>
            </p:nvSpPr>
            <p:spPr>
              <a:xfrm>
                <a:off x="76200" y="66675"/>
                <a:ext cx="660400" cy="669925"/>
              </a:xfrm>
              <a:prstGeom prst="rect">
                <a:avLst/>
              </a:prstGeom>
            </p:spPr>
            <p:txBody>
              <a:bodyPr lIns="18777" tIns="18777" rIns="18777" bIns="18777" rtlCol="0" anchor="ctr"/>
              <a:lstStyle/>
              <a:p>
                <a:pPr algn="ctr">
                  <a:lnSpc>
                    <a:spcPts val="975"/>
                  </a:lnSpc>
                </a:pPr>
                <a:endParaRPr sz="867"/>
              </a:p>
            </p:txBody>
          </p:sp>
        </p:grpSp>
        <p:sp>
          <p:nvSpPr>
            <p:cNvPr id="13" name="Freeform 23">
              <a:extLst>
                <a:ext uri="{FF2B5EF4-FFF2-40B4-BE49-F238E27FC236}">
                  <a16:creationId xmlns:a16="http://schemas.microsoft.com/office/drawing/2014/main" id="{7A8EF9BD-54C8-39CB-9A4E-3DB20BC9D6A8}"/>
                </a:ext>
              </a:extLst>
            </p:cNvPr>
            <p:cNvSpPr/>
            <p:nvPr/>
          </p:nvSpPr>
          <p:spPr>
            <a:xfrm>
              <a:off x="1878626" y="2334945"/>
              <a:ext cx="749402" cy="760463"/>
            </a:xfrm>
            <a:custGeom>
              <a:avLst/>
              <a:gdLst/>
              <a:ahLst/>
              <a:cxnLst/>
              <a:rect l="l" t="t" r="r" b="b"/>
              <a:pathLst>
                <a:path w="1844682" h="1871909">
                  <a:moveTo>
                    <a:pt x="0" y="0"/>
                  </a:moveTo>
                  <a:lnTo>
                    <a:pt x="1844681" y="0"/>
                  </a:lnTo>
                  <a:lnTo>
                    <a:pt x="1844681" y="1871910"/>
                  </a:lnTo>
                  <a:lnTo>
                    <a:pt x="0" y="187191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ko-KR" altLang="en-US" sz="867"/>
            </a:p>
          </p:txBody>
        </p:sp>
      </p:grpSp>
      <p:sp>
        <p:nvSpPr>
          <p:cNvPr id="14" name="TextBox 24">
            <a:extLst>
              <a:ext uri="{FF2B5EF4-FFF2-40B4-BE49-F238E27FC236}">
                <a16:creationId xmlns:a16="http://schemas.microsoft.com/office/drawing/2014/main" id="{0B745AED-5917-4690-96DE-FD271C749CE7}"/>
              </a:ext>
            </a:extLst>
          </p:cNvPr>
          <p:cNvSpPr txBox="1"/>
          <p:nvPr/>
        </p:nvSpPr>
        <p:spPr>
          <a:xfrm>
            <a:off x="2979460" y="2302779"/>
            <a:ext cx="1973539" cy="2491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985"/>
              </a:lnSpc>
              <a:spcBef>
                <a:spcPct val="0"/>
              </a:spcBef>
            </a:pPr>
            <a:r>
              <a:rPr lang="ko-KR" altLang="en-US" sz="1600" spc="82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Open Sans 1 Bold"/>
                <a:sym typeface="Open Sans 1 Bold"/>
              </a:rPr>
              <a:t>시스템 </a:t>
            </a:r>
            <a:r>
              <a:rPr lang="en-US" altLang="ko-KR" sz="1600" spc="82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Open Sans 1 Bold"/>
                <a:sym typeface="Open Sans 1 Bold"/>
              </a:rPr>
              <a:t>SI </a:t>
            </a:r>
            <a:r>
              <a:rPr lang="ko-KR" altLang="en-US" sz="1600" spc="82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Open Sans 1 Bold"/>
                <a:sym typeface="Open Sans 1 Bold"/>
              </a:rPr>
              <a:t>구축</a:t>
            </a:r>
            <a:endParaRPr lang="en-US" sz="1600" spc="82" dirty="0">
              <a:latin typeface="나눔스퀘어 네오 Bold" panose="00000800000000000000" pitchFamily="2" charset="-127"/>
              <a:ea typeface="나눔스퀘어 네오 Bold" panose="00000800000000000000" pitchFamily="2" charset="-127"/>
              <a:cs typeface="Open Sans 1 Bold"/>
              <a:sym typeface="Open Sans 1 Bold"/>
            </a:endParaRPr>
          </a:p>
        </p:txBody>
      </p:sp>
      <p:sp>
        <p:nvSpPr>
          <p:cNvPr id="15" name="TextBox 25">
            <a:extLst>
              <a:ext uri="{FF2B5EF4-FFF2-40B4-BE49-F238E27FC236}">
                <a16:creationId xmlns:a16="http://schemas.microsoft.com/office/drawing/2014/main" id="{AE563AD3-020C-1928-B75C-2A4A33669568}"/>
              </a:ext>
            </a:extLst>
          </p:cNvPr>
          <p:cNvSpPr txBox="1"/>
          <p:nvPr/>
        </p:nvSpPr>
        <p:spPr>
          <a:xfrm>
            <a:off x="2979461" y="2715186"/>
            <a:ext cx="1859240" cy="37568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36"/>
              </a:lnSpc>
              <a:spcBef>
                <a:spcPct val="0"/>
              </a:spcBef>
            </a:pPr>
            <a:r>
              <a:rPr lang="ko-KR" altLang="en-US" sz="1100" kern="0" dirty="0" err="1">
                <a:latin typeface="나눔스퀘어 네오 Regular" panose="00000500000000000000" pitchFamily="2" charset="-127"/>
                <a:ea typeface="나눔스퀘어 네오 Regular" panose="00000500000000000000" pitchFamily="2" charset="-127"/>
              </a:rPr>
              <a:t>기간계</a:t>
            </a:r>
            <a:r>
              <a:rPr lang="ko-KR" altLang="en-US" sz="1100" kern="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</a:rPr>
              <a:t> 시스템 </a:t>
            </a:r>
            <a:r>
              <a:rPr lang="en-US" altLang="ko-KR" sz="1100" kern="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</a:rPr>
              <a:t>SI </a:t>
            </a:r>
            <a:r>
              <a:rPr lang="ko-KR" altLang="en-US" sz="1100" kern="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</a:rPr>
              <a:t>구축 프로젝트</a:t>
            </a:r>
            <a:endParaRPr lang="en-US" altLang="ko-KR" sz="1100" kern="0" dirty="0">
              <a:latin typeface="나눔스퀘어 네오 Regular" panose="00000500000000000000" pitchFamily="2" charset="-127"/>
              <a:ea typeface="나눔스퀘어 네오 Regular" panose="00000500000000000000" pitchFamily="2" charset="-127"/>
            </a:endParaRPr>
          </a:p>
          <a:p>
            <a:pPr>
              <a:lnSpc>
                <a:spcPts val="1536"/>
              </a:lnSpc>
              <a:spcBef>
                <a:spcPct val="0"/>
              </a:spcBef>
            </a:pPr>
            <a:r>
              <a:rPr lang="ko-KR" altLang="en-US" sz="1100" kern="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</a:rPr>
              <a:t>정보계 </a:t>
            </a:r>
            <a:r>
              <a:rPr lang="en-US" altLang="ko-KR" sz="1100" kern="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</a:rPr>
              <a:t>DW </a:t>
            </a:r>
            <a:r>
              <a:rPr lang="ko-KR" altLang="en-US" sz="1100" kern="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</a:rPr>
              <a:t>및 차세대 시스템</a:t>
            </a:r>
            <a:endParaRPr lang="en-US" sz="1100" dirty="0">
              <a:solidFill>
                <a:srgbClr val="000000"/>
              </a:solidFill>
              <a:latin typeface="나눔스퀘어 네오 Regular" panose="00000500000000000000" pitchFamily="2" charset="-127"/>
              <a:ea typeface="나눔스퀘어 네오 Regular" panose="00000500000000000000" pitchFamily="2" charset="-127"/>
              <a:cs typeface="Open Sans 1"/>
              <a:sym typeface="Open Sans 1"/>
            </a:endParaRPr>
          </a:p>
        </p:txBody>
      </p:sp>
      <p:grpSp>
        <p:nvGrpSpPr>
          <p:cNvPr id="64" name="그룹 63">
            <a:extLst>
              <a:ext uri="{FF2B5EF4-FFF2-40B4-BE49-F238E27FC236}">
                <a16:creationId xmlns:a16="http://schemas.microsoft.com/office/drawing/2014/main" id="{FA863B9D-0387-7B35-C29D-90F234C9DC20}"/>
              </a:ext>
            </a:extLst>
          </p:cNvPr>
          <p:cNvGrpSpPr/>
          <p:nvPr/>
        </p:nvGrpSpPr>
        <p:grpSpPr>
          <a:xfrm>
            <a:off x="1438698" y="4241488"/>
            <a:ext cx="1286358" cy="1286359"/>
            <a:chOff x="1610148" y="4213931"/>
            <a:chExt cx="1286358" cy="1286359"/>
          </a:xfrm>
        </p:grpSpPr>
        <p:grpSp>
          <p:nvGrpSpPr>
            <p:cNvPr id="19" name="Group 27">
              <a:extLst>
                <a:ext uri="{FF2B5EF4-FFF2-40B4-BE49-F238E27FC236}">
                  <a16:creationId xmlns:a16="http://schemas.microsoft.com/office/drawing/2014/main" id="{03EC11FF-B672-0E05-9828-BA573A0E0224}"/>
                </a:ext>
              </a:extLst>
            </p:cNvPr>
            <p:cNvGrpSpPr/>
            <p:nvPr/>
          </p:nvGrpSpPr>
          <p:grpSpPr>
            <a:xfrm>
              <a:off x="1610148" y="4213931"/>
              <a:ext cx="1286358" cy="1286359"/>
              <a:chOff x="0" y="0"/>
              <a:chExt cx="812800" cy="812800"/>
            </a:xfrm>
          </p:grpSpPr>
          <p:sp>
            <p:nvSpPr>
              <p:cNvPr id="23" name="Freeform 28">
                <a:extLst>
                  <a:ext uri="{FF2B5EF4-FFF2-40B4-BE49-F238E27FC236}">
                    <a16:creationId xmlns:a16="http://schemas.microsoft.com/office/drawing/2014/main" id="{4C09EBEA-446D-B1C5-9530-B56E5DB32372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E4F50"/>
              </a:solidFill>
            </p:spPr>
            <p:txBody>
              <a:bodyPr/>
              <a:lstStyle/>
              <a:p>
                <a:endParaRPr lang="ko-KR" altLang="en-US" sz="867" dirty="0"/>
              </a:p>
            </p:txBody>
          </p:sp>
          <p:sp>
            <p:nvSpPr>
              <p:cNvPr id="24" name="TextBox 29">
                <a:extLst>
                  <a:ext uri="{FF2B5EF4-FFF2-40B4-BE49-F238E27FC236}">
                    <a16:creationId xmlns:a16="http://schemas.microsoft.com/office/drawing/2014/main" id="{3EE6D583-1D53-ACA8-7D45-13218AE5664D}"/>
                  </a:ext>
                </a:extLst>
              </p:cNvPr>
              <p:cNvSpPr txBox="1"/>
              <p:nvPr/>
            </p:nvSpPr>
            <p:spPr>
              <a:xfrm>
                <a:off x="76200" y="66675"/>
                <a:ext cx="660400" cy="669925"/>
              </a:xfrm>
              <a:prstGeom prst="rect">
                <a:avLst/>
              </a:prstGeom>
            </p:spPr>
            <p:txBody>
              <a:bodyPr lIns="18777" tIns="18777" rIns="18777" bIns="18777" rtlCol="0" anchor="ctr"/>
              <a:lstStyle/>
              <a:p>
                <a:pPr algn="ctr">
                  <a:lnSpc>
                    <a:spcPts val="975"/>
                  </a:lnSpc>
                </a:pPr>
                <a:endParaRPr sz="867"/>
              </a:p>
            </p:txBody>
          </p:sp>
        </p:grpSp>
        <p:sp>
          <p:nvSpPr>
            <p:cNvPr id="20" name="Freeform 30">
              <a:extLst>
                <a:ext uri="{FF2B5EF4-FFF2-40B4-BE49-F238E27FC236}">
                  <a16:creationId xmlns:a16="http://schemas.microsoft.com/office/drawing/2014/main" id="{1BCE8B5A-B51D-C898-6B39-6C21367472B5}"/>
                </a:ext>
              </a:extLst>
            </p:cNvPr>
            <p:cNvSpPr/>
            <p:nvPr/>
          </p:nvSpPr>
          <p:spPr>
            <a:xfrm>
              <a:off x="1863143" y="4505235"/>
              <a:ext cx="780368" cy="703751"/>
            </a:xfrm>
            <a:custGeom>
              <a:avLst/>
              <a:gdLst/>
              <a:ahLst/>
              <a:cxnLst/>
              <a:rect l="l" t="t" r="r" b="b"/>
              <a:pathLst>
                <a:path w="1920907" h="1732309">
                  <a:moveTo>
                    <a:pt x="0" y="0"/>
                  </a:moveTo>
                  <a:lnTo>
                    <a:pt x="1920906" y="0"/>
                  </a:lnTo>
                  <a:lnTo>
                    <a:pt x="1920906" y="1732308"/>
                  </a:lnTo>
                  <a:lnTo>
                    <a:pt x="0" y="173230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ko-KR" altLang="en-US" sz="867"/>
            </a:p>
          </p:txBody>
        </p:sp>
      </p:grpSp>
      <p:sp>
        <p:nvSpPr>
          <p:cNvPr id="21" name="TextBox 31">
            <a:extLst>
              <a:ext uri="{FF2B5EF4-FFF2-40B4-BE49-F238E27FC236}">
                <a16:creationId xmlns:a16="http://schemas.microsoft.com/office/drawing/2014/main" id="{D6DDD990-87DC-16C0-4147-937E72587DA3}"/>
              </a:ext>
            </a:extLst>
          </p:cNvPr>
          <p:cNvSpPr txBox="1"/>
          <p:nvPr/>
        </p:nvSpPr>
        <p:spPr>
          <a:xfrm>
            <a:off x="2979460" y="4371037"/>
            <a:ext cx="1973539" cy="2491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985"/>
              </a:lnSpc>
              <a:spcBef>
                <a:spcPct val="0"/>
              </a:spcBef>
            </a:pPr>
            <a:r>
              <a:rPr lang="en-US" sz="1600" spc="82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Open Sans 1 Bold"/>
                <a:sym typeface="Open Sans 1 Bold"/>
              </a:rPr>
              <a:t>MENDIX </a:t>
            </a:r>
            <a:r>
              <a:rPr lang="ko-KR" altLang="en-US" sz="1600" spc="82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Open Sans 1 Bold"/>
                <a:sym typeface="Open Sans 1 Bold"/>
              </a:rPr>
              <a:t>사업</a:t>
            </a:r>
            <a:endParaRPr lang="en-US" sz="1600" spc="82" dirty="0">
              <a:latin typeface="나눔스퀘어 네오 Bold" panose="00000800000000000000" pitchFamily="2" charset="-127"/>
              <a:ea typeface="나눔스퀘어 네오 Bold" panose="00000800000000000000" pitchFamily="2" charset="-127"/>
              <a:cs typeface="Open Sans 1 Bold"/>
              <a:sym typeface="Open Sans 1 Bold"/>
            </a:endParaRPr>
          </a:p>
        </p:txBody>
      </p:sp>
      <p:sp>
        <p:nvSpPr>
          <p:cNvPr id="22" name="TextBox 32">
            <a:extLst>
              <a:ext uri="{FF2B5EF4-FFF2-40B4-BE49-F238E27FC236}">
                <a16:creationId xmlns:a16="http://schemas.microsoft.com/office/drawing/2014/main" id="{5C52F569-028E-D57B-41FC-423B3D4BA0C1}"/>
              </a:ext>
            </a:extLst>
          </p:cNvPr>
          <p:cNvSpPr txBox="1"/>
          <p:nvPr/>
        </p:nvSpPr>
        <p:spPr>
          <a:xfrm>
            <a:off x="2979461" y="4782279"/>
            <a:ext cx="1740868" cy="5709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36"/>
              </a:lnSpc>
              <a:spcBef>
                <a:spcPct val="0"/>
              </a:spcBef>
            </a:pPr>
            <a:r>
              <a:rPr lang="en-US" altLang="ko-KR" sz="11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Mendix intermediate Certification</a:t>
            </a:r>
            <a:r>
              <a:rPr lang="ko-KR" altLang="en-US" sz="11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 이상의 숙련된 개발자들로 구성된 전담 팀 보유</a:t>
            </a:r>
            <a:endParaRPr lang="en-US" sz="1100" dirty="0">
              <a:solidFill>
                <a:srgbClr val="000000"/>
              </a:solidFill>
              <a:latin typeface="나눔스퀘어 네오 Regular" panose="00000500000000000000" pitchFamily="2" charset="-127"/>
              <a:ea typeface="나눔스퀘어 네오 Regular" panose="00000500000000000000" pitchFamily="2" charset="-127"/>
              <a:cs typeface="Open Sans 1"/>
              <a:sym typeface="Open Sans 1"/>
            </a:endParaRPr>
          </a:p>
        </p:txBody>
      </p:sp>
      <p:grpSp>
        <p:nvGrpSpPr>
          <p:cNvPr id="65" name="그룹 64">
            <a:extLst>
              <a:ext uri="{FF2B5EF4-FFF2-40B4-BE49-F238E27FC236}">
                <a16:creationId xmlns:a16="http://schemas.microsoft.com/office/drawing/2014/main" id="{59D6C4EA-9198-71CB-5735-2632B2AF4F9E}"/>
              </a:ext>
            </a:extLst>
          </p:cNvPr>
          <p:cNvGrpSpPr/>
          <p:nvPr/>
        </p:nvGrpSpPr>
        <p:grpSpPr>
          <a:xfrm>
            <a:off x="4964204" y="4241488"/>
            <a:ext cx="1286359" cy="1286359"/>
            <a:chOff x="5059454" y="4213931"/>
            <a:chExt cx="1286359" cy="1286359"/>
          </a:xfrm>
        </p:grpSpPr>
        <p:grpSp>
          <p:nvGrpSpPr>
            <p:cNvPr id="26" name="Group 34">
              <a:extLst>
                <a:ext uri="{FF2B5EF4-FFF2-40B4-BE49-F238E27FC236}">
                  <a16:creationId xmlns:a16="http://schemas.microsoft.com/office/drawing/2014/main" id="{558B2CB1-05EA-66A9-CB65-FB88E59FAD6C}"/>
                </a:ext>
              </a:extLst>
            </p:cNvPr>
            <p:cNvGrpSpPr/>
            <p:nvPr/>
          </p:nvGrpSpPr>
          <p:grpSpPr>
            <a:xfrm>
              <a:off x="5059454" y="4213931"/>
              <a:ext cx="1286359" cy="1286359"/>
              <a:chOff x="0" y="0"/>
              <a:chExt cx="812800" cy="812800"/>
            </a:xfrm>
          </p:grpSpPr>
          <p:sp>
            <p:nvSpPr>
              <p:cNvPr id="30" name="Freeform 35">
                <a:extLst>
                  <a:ext uri="{FF2B5EF4-FFF2-40B4-BE49-F238E27FC236}">
                    <a16:creationId xmlns:a16="http://schemas.microsoft.com/office/drawing/2014/main" id="{94232447-4B49-3BB7-9022-E6FAE8A1B718}"/>
                  </a:ext>
                </a:extLst>
              </p:cNvPr>
              <p:cNvSpPr/>
              <p:nvPr/>
            </p:nvSpPr>
            <p:spPr>
              <a:xfrm>
                <a:off x="0" y="0"/>
                <a:ext cx="812800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4E4F50"/>
              </a:solidFill>
            </p:spPr>
            <p:txBody>
              <a:bodyPr/>
              <a:lstStyle/>
              <a:p>
                <a:endParaRPr lang="ko-KR" altLang="en-US" sz="867" dirty="0"/>
              </a:p>
            </p:txBody>
          </p:sp>
          <p:sp>
            <p:nvSpPr>
              <p:cNvPr id="31" name="TextBox 36">
                <a:extLst>
                  <a:ext uri="{FF2B5EF4-FFF2-40B4-BE49-F238E27FC236}">
                    <a16:creationId xmlns:a16="http://schemas.microsoft.com/office/drawing/2014/main" id="{5B669E9A-45D4-B535-2E5A-F6EC44110562}"/>
                  </a:ext>
                </a:extLst>
              </p:cNvPr>
              <p:cNvSpPr txBox="1"/>
              <p:nvPr/>
            </p:nvSpPr>
            <p:spPr>
              <a:xfrm>
                <a:off x="76200" y="66675"/>
                <a:ext cx="660400" cy="669925"/>
              </a:xfrm>
              <a:prstGeom prst="rect">
                <a:avLst/>
              </a:prstGeom>
            </p:spPr>
            <p:txBody>
              <a:bodyPr lIns="18777" tIns="18777" rIns="18777" bIns="18777" rtlCol="0" anchor="ctr"/>
              <a:lstStyle/>
              <a:p>
                <a:pPr algn="ctr">
                  <a:lnSpc>
                    <a:spcPts val="975"/>
                  </a:lnSpc>
                </a:pPr>
                <a:endParaRPr sz="867"/>
              </a:p>
            </p:txBody>
          </p:sp>
        </p:grpSp>
        <p:sp>
          <p:nvSpPr>
            <p:cNvPr id="27" name="Freeform 37">
              <a:extLst>
                <a:ext uri="{FF2B5EF4-FFF2-40B4-BE49-F238E27FC236}">
                  <a16:creationId xmlns:a16="http://schemas.microsoft.com/office/drawing/2014/main" id="{3147F92C-F65B-69AA-BE66-53E929CF6DA0}"/>
                </a:ext>
              </a:extLst>
            </p:cNvPr>
            <p:cNvSpPr/>
            <p:nvPr/>
          </p:nvSpPr>
          <p:spPr>
            <a:xfrm>
              <a:off x="5342166" y="4451676"/>
              <a:ext cx="720935" cy="810868"/>
            </a:xfrm>
            <a:custGeom>
              <a:avLst/>
              <a:gdLst/>
              <a:ahLst/>
              <a:cxnLst/>
              <a:rect l="l" t="t" r="r" b="b"/>
              <a:pathLst>
                <a:path w="1774609" h="1995982">
                  <a:moveTo>
                    <a:pt x="0" y="0"/>
                  </a:moveTo>
                  <a:lnTo>
                    <a:pt x="1774609" y="0"/>
                  </a:lnTo>
                  <a:lnTo>
                    <a:pt x="1774609" y="1995982"/>
                  </a:lnTo>
                  <a:lnTo>
                    <a:pt x="0" y="199598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ko-KR" altLang="en-US" sz="867"/>
            </a:p>
          </p:txBody>
        </p:sp>
      </p:grpSp>
      <p:sp>
        <p:nvSpPr>
          <p:cNvPr id="28" name="TextBox 38">
            <a:extLst>
              <a:ext uri="{FF2B5EF4-FFF2-40B4-BE49-F238E27FC236}">
                <a16:creationId xmlns:a16="http://schemas.microsoft.com/office/drawing/2014/main" id="{78C90FD5-6F19-C1E8-B538-583D2488D93D}"/>
              </a:ext>
            </a:extLst>
          </p:cNvPr>
          <p:cNvSpPr txBox="1"/>
          <p:nvPr/>
        </p:nvSpPr>
        <p:spPr>
          <a:xfrm>
            <a:off x="6581167" y="4437474"/>
            <a:ext cx="1900846" cy="2510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985"/>
              </a:lnSpc>
              <a:spcBef>
                <a:spcPct val="0"/>
              </a:spcBef>
            </a:pPr>
            <a:r>
              <a:rPr lang="ko-KR" altLang="en-US" sz="1600" spc="82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Open Sans 1 Bold"/>
                <a:sym typeface="Open Sans 1 Bold"/>
              </a:rPr>
              <a:t>솔루션</a:t>
            </a:r>
            <a:endParaRPr lang="en-US" sz="1600" spc="82" dirty="0">
              <a:latin typeface="나눔스퀘어 네오 Bold" panose="00000800000000000000" pitchFamily="2" charset="-127"/>
              <a:ea typeface="나눔스퀘어 네오 Bold" panose="00000800000000000000" pitchFamily="2" charset="-127"/>
              <a:cs typeface="Open Sans 1 Bold"/>
              <a:sym typeface="Open Sans 1 Bold"/>
            </a:endParaRPr>
          </a:p>
        </p:txBody>
      </p:sp>
      <p:sp>
        <p:nvSpPr>
          <p:cNvPr id="29" name="TextBox 39">
            <a:extLst>
              <a:ext uri="{FF2B5EF4-FFF2-40B4-BE49-F238E27FC236}">
                <a16:creationId xmlns:a16="http://schemas.microsoft.com/office/drawing/2014/main" id="{778C7756-2331-918B-B7A5-3F21D378B399}"/>
              </a:ext>
            </a:extLst>
          </p:cNvPr>
          <p:cNvSpPr txBox="1"/>
          <p:nvPr/>
        </p:nvSpPr>
        <p:spPr>
          <a:xfrm>
            <a:off x="6581167" y="4848374"/>
            <a:ext cx="1930021" cy="1833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36"/>
              </a:lnSpc>
              <a:spcBef>
                <a:spcPct val="0"/>
              </a:spcBef>
            </a:pPr>
            <a:r>
              <a:rPr lang="ko-KR" altLang="en-US" sz="1100" dirty="0">
                <a:solidFill>
                  <a:srgbClr val="00000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Open Sans 1"/>
                <a:sym typeface="Open Sans 1"/>
              </a:rPr>
              <a:t>자체 솔루션 연구 및 개발 역량</a:t>
            </a:r>
            <a:endParaRPr lang="en-US" sz="1100" dirty="0">
              <a:solidFill>
                <a:srgbClr val="000000"/>
              </a:solidFill>
              <a:latin typeface="나눔스퀘어 네오 Regular" panose="00000500000000000000" pitchFamily="2" charset="-127"/>
              <a:ea typeface="나눔스퀘어 네오 Regular" panose="00000500000000000000" pitchFamily="2" charset="-127"/>
              <a:cs typeface="Open Sans 1"/>
              <a:sym typeface="Open Sans 1"/>
            </a:endParaRPr>
          </a:p>
        </p:txBody>
      </p:sp>
      <p:sp>
        <p:nvSpPr>
          <p:cNvPr id="25" name="TextBox 30">
            <a:extLst>
              <a:ext uri="{FF2B5EF4-FFF2-40B4-BE49-F238E27FC236}">
                <a16:creationId xmlns:a16="http://schemas.microsoft.com/office/drawing/2014/main" id="{08219C0A-A174-D42D-37AC-13EBBB218C64}"/>
              </a:ext>
            </a:extLst>
          </p:cNvPr>
          <p:cNvSpPr txBox="1"/>
          <p:nvPr/>
        </p:nvSpPr>
        <p:spPr>
          <a:xfrm>
            <a:off x="2313047" y="1082169"/>
            <a:ext cx="5279907" cy="369332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/>
            <a:r>
              <a:rPr lang="en-US" altLang="ko-KR" sz="2400" spc="-109" dirty="0">
                <a:solidFill>
                  <a:srgbClr val="4E4F50"/>
                </a:solidFill>
                <a:latin typeface="Outfit SemiBold" pitchFamily="2" charset="0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Enterprise IT Consulting &amp; Service Partner</a:t>
            </a:r>
          </a:p>
        </p:txBody>
      </p:sp>
    </p:spTree>
    <p:extLst>
      <p:ext uri="{BB962C8B-B14F-4D97-AF65-F5344CB8AC3E}">
        <p14:creationId xmlns:p14="http://schemas.microsoft.com/office/powerpoint/2010/main" val="34434438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>
            <a:extLst>
              <a:ext uri="{FF2B5EF4-FFF2-40B4-BE49-F238E27FC236}">
                <a16:creationId xmlns:a16="http://schemas.microsoft.com/office/drawing/2014/main" id="{B799996A-356E-8B26-3CD8-0D242921FC2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ko-KR" altLang="en-US" sz="3600" dirty="0" err="1">
                <a:solidFill>
                  <a:srgbClr val="4E4F50"/>
                </a:solidFill>
                <a:latin typeface="나눔스퀘어 네오 Bold" panose="00000800000000000000" pitchFamily="2" charset="-127"/>
                <a:ea typeface="나눔스퀘어 네오 Bold" panose="00000800000000000000" pitchFamily="2" charset="-127"/>
              </a:rPr>
              <a:t>뱅가드랩이</a:t>
            </a:r>
            <a:r>
              <a:rPr lang="ko-KR" altLang="en-US" sz="3600" dirty="0">
                <a:solidFill>
                  <a:srgbClr val="4E4F50"/>
                </a:solidFill>
                <a:latin typeface="나눔스퀘어 네오 Bold" panose="00000800000000000000" pitchFamily="2" charset="-127"/>
                <a:ea typeface="나눔스퀘어 네오 Bold" panose="00000800000000000000" pitchFamily="2" charset="-127"/>
              </a:rPr>
              <a:t> 걸어온 </a:t>
            </a:r>
            <a:r>
              <a:rPr lang="en-US" altLang="ko-KR" sz="3600" dirty="0">
                <a:solidFill>
                  <a:srgbClr val="4E4F50"/>
                </a:solidFill>
                <a:latin typeface="나눔스퀘어 네오 Bold" panose="00000800000000000000" pitchFamily="2" charset="-127"/>
                <a:ea typeface="나눔스퀘어 네오 Bold" panose="00000800000000000000" pitchFamily="2" charset="-127"/>
              </a:rPr>
              <a:t>8</a:t>
            </a:r>
            <a:r>
              <a:rPr lang="ko-KR" altLang="en-US" sz="3600" dirty="0">
                <a:solidFill>
                  <a:srgbClr val="4E4F50"/>
                </a:solidFill>
                <a:latin typeface="나눔스퀘어 네오 Bold" panose="00000800000000000000" pitchFamily="2" charset="-127"/>
                <a:ea typeface="나눔스퀘어 네오 Bold" panose="00000800000000000000" pitchFamily="2" charset="-127"/>
              </a:rPr>
              <a:t>년</a:t>
            </a:r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EB38DB42-3C0E-6FFA-E290-1F8B3B01B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HISTORY</a:t>
            </a:r>
            <a:endParaRPr lang="ko-KR" altLang="en-US" dirty="0"/>
          </a:p>
        </p:txBody>
      </p:sp>
      <p:grpSp>
        <p:nvGrpSpPr>
          <p:cNvPr id="4" name="Group 5">
            <a:extLst>
              <a:ext uri="{FF2B5EF4-FFF2-40B4-BE49-F238E27FC236}">
                <a16:creationId xmlns:a16="http://schemas.microsoft.com/office/drawing/2014/main" id="{465C7FC6-0F30-1CAA-B652-0E07B2C92A96}"/>
              </a:ext>
            </a:extLst>
          </p:cNvPr>
          <p:cNvGrpSpPr/>
          <p:nvPr/>
        </p:nvGrpSpPr>
        <p:grpSpPr>
          <a:xfrm>
            <a:off x="-1" y="1781206"/>
            <a:ext cx="9906001" cy="4095719"/>
            <a:chOff x="0" y="0"/>
            <a:chExt cx="4912872" cy="1845788"/>
          </a:xfrm>
        </p:grpSpPr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81F283A2-25B2-16CF-0FB8-D0C2B86BDDEF}"/>
                </a:ext>
              </a:extLst>
            </p:cNvPr>
            <p:cNvSpPr/>
            <p:nvPr/>
          </p:nvSpPr>
          <p:spPr>
            <a:xfrm>
              <a:off x="0" y="0"/>
              <a:ext cx="4912872" cy="1845788"/>
            </a:xfrm>
            <a:custGeom>
              <a:avLst/>
              <a:gdLst/>
              <a:ahLst/>
              <a:cxnLst/>
              <a:rect l="l" t="t" r="r" b="b"/>
              <a:pathLst>
                <a:path w="4912872" h="1845788">
                  <a:moveTo>
                    <a:pt x="0" y="0"/>
                  </a:moveTo>
                  <a:lnTo>
                    <a:pt x="4912872" y="0"/>
                  </a:lnTo>
                  <a:lnTo>
                    <a:pt x="4912872" y="1845788"/>
                  </a:lnTo>
                  <a:lnTo>
                    <a:pt x="0" y="1845788"/>
                  </a:lnTo>
                  <a:close/>
                </a:path>
              </a:pathLst>
            </a:custGeom>
            <a:solidFill>
              <a:srgbClr val="F4F4F4"/>
            </a:solidFill>
          </p:spPr>
          <p:txBody>
            <a:bodyPr/>
            <a:lstStyle/>
            <a:p>
              <a:endParaRPr lang="ko-KR" altLang="en-US" sz="867" dirty="0"/>
            </a:p>
          </p:txBody>
        </p:sp>
        <p:sp>
          <p:nvSpPr>
            <p:cNvPr id="6" name="TextBox 7">
              <a:extLst>
                <a:ext uri="{FF2B5EF4-FFF2-40B4-BE49-F238E27FC236}">
                  <a16:creationId xmlns:a16="http://schemas.microsoft.com/office/drawing/2014/main" id="{4CDD845D-B9BC-30B0-55D7-1C6B9080E36D}"/>
                </a:ext>
              </a:extLst>
            </p:cNvPr>
            <p:cNvSpPr txBox="1"/>
            <p:nvPr/>
          </p:nvSpPr>
          <p:spPr>
            <a:xfrm>
              <a:off x="0" y="-57150"/>
              <a:ext cx="4912872" cy="1902938"/>
            </a:xfrm>
            <a:prstGeom prst="rect">
              <a:avLst/>
            </a:prstGeom>
          </p:spPr>
          <p:txBody>
            <a:bodyPr lIns="27517" tIns="27517" rIns="27517" bIns="27517" rtlCol="0" anchor="ctr"/>
            <a:lstStyle/>
            <a:p>
              <a:pPr algn="ctr">
                <a:lnSpc>
                  <a:spcPts val="1820"/>
                </a:lnSpc>
              </a:pPr>
              <a:endParaRPr sz="867"/>
            </a:p>
          </p:txBody>
        </p:sp>
      </p:grpSp>
      <p:sp>
        <p:nvSpPr>
          <p:cNvPr id="7" name="AutoShape 8">
            <a:extLst>
              <a:ext uri="{FF2B5EF4-FFF2-40B4-BE49-F238E27FC236}">
                <a16:creationId xmlns:a16="http://schemas.microsoft.com/office/drawing/2014/main" id="{39D56ED0-95DD-8884-C660-E0EEBF4685E1}"/>
              </a:ext>
            </a:extLst>
          </p:cNvPr>
          <p:cNvSpPr/>
          <p:nvPr/>
        </p:nvSpPr>
        <p:spPr>
          <a:xfrm>
            <a:off x="582810" y="2284391"/>
            <a:ext cx="8704066" cy="0"/>
          </a:xfrm>
          <a:prstGeom prst="line">
            <a:avLst/>
          </a:prstGeom>
          <a:ln w="19050" cap="flat">
            <a:solidFill>
              <a:srgbClr val="4E4F5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 sz="867"/>
          </a:p>
        </p:txBody>
      </p:sp>
      <p:sp>
        <p:nvSpPr>
          <p:cNvPr id="8" name="AutoShape 9">
            <a:extLst>
              <a:ext uri="{FF2B5EF4-FFF2-40B4-BE49-F238E27FC236}">
                <a16:creationId xmlns:a16="http://schemas.microsoft.com/office/drawing/2014/main" id="{C9CFA08B-1078-6D81-02C6-D8E38032975E}"/>
              </a:ext>
            </a:extLst>
          </p:cNvPr>
          <p:cNvSpPr/>
          <p:nvPr/>
        </p:nvSpPr>
        <p:spPr>
          <a:xfrm>
            <a:off x="664167" y="4148604"/>
            <a:ext cx="8917983" cy="0"/>
          </a:xfrm>
          <a:prstGeom prst="line">
            <a:avLst/>
          </a:prstGeom>
          <a:ln w="19050" cap="flat">
            <a:solidFill>
              <a:srgbClr val="4E4F5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ko-KR" altLang="en-US" sz="867"/>
          </a:p>
        </p:txBody>
      </p:sp>
      <p:grpSp>
        <p:nvGrpSpPr>
          <p:cNvPr id="9" name="Group 10">
            <a:extLst>
              <a:ext uri="{FF2B5EF4-FFF2-40B4-BE49-F238E27FC236}">
                <a16:creationId xmlns:a16="http://schemas.microsoft.com/office/drawing/2014/main" id="{D6B7DB65-89F3-EC33-B5D3-D6AFDF5E985F}"/>
              </a:ext>
            </a:extLst>
          </p:cNvPr>
          <p:cNvGrpSpPr/>
          <p:nvPr/>
        </p:nvGrpSpPr>
        <p:grpSpPr>
          <a:xfrm>
            <a:off x="563758" y="2219039"/>
            <a:ext cx="141023" cy="141023"/>
            <a:chOff x="0" y="0"/>
            <a:chExt cx="6350000" cy="6350000"/>
          </a:xfrm>
        </p:grpSpPr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EB353A35-722D-49B1-858C-75118F92396E}"/>
                </a:ext>
              </a:extLst>
            </p:cNvPr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3175000" y="0"/>
                  </a:moveTo>
                  <a:cubicBezTo>
                    <a:pt x="1421496" y="0"/>
                    <a:pt x="0" y="1421496"/>
                    <a:pt x="0" y="3175000"/>
                  </a:cubicBezTo>
                  <a:cubicBezTo>
                    <a:pt x="0" y="4928504"/>
                    <a:pt x="1421496" y="6350000"/>
                    <a:pt x="3175000" y="6350000"/>
                  </a:cubicBezTo>
                  <a:cubicBezTo>
                    <a:pt x="4928504" y="6350000"/>
                    <a:pt x="6350000" y="4928504"/>
                    <a:pt x="6350000" y="3175000"/>
                  </a:cubicBezTo>
                  <a:cubicBezTo>
                    <a:pt x="6350000" y="1421496"/>
                    <a:pt x="4928504" y="0"/>
                    <a:pt x="3175000" y="0"/>
                  </a:cubicBezTo>
                  <a:close/>
                </a:path>
              </a:pathLst>
            </a:custGeom>
            <a:solidFill>
              <a:srgbClr val="4E4F50"/>
            </a:solidFill>
          </p:spPr>
          <p:txBody>
            <a:bodyPr/>
            <a:lstStyle/>
            <a:p>
              <a:endParaRPr lang="ko-KR" altLang="en-US" sz="867" dirty="0"/>
            </a:p>
          </p:txBody>
        </p:sp>
      </p:grpSp>
      <p:grpSp>
        <p:nvGrpSpPr>
          <p:cNvPr id="11" name="Group 12">
            <a:extLst>
              <a:ext uri="{FF2B5EF4-FFF2-40B4-BE49-F238E27FC236}">
                <a16:creationId xmlns:a16="http://schemas.microsoft.com/office/drawing/2014/main" id="{7EC67419-20AB-306E-2A23-3E0A02460C72}"/>
              </a:ext>
            </a:extLst>
          </p:cNvPr>
          <p:cNvGrpSpPr/>
          <p:nvPr/>
        </p:nvGrpSpPr>
        <p:grpSpPr>
          <a:xfrm>
            <a:off x="563758" y="4083252"/>
            <a:ext cx="141023" cy="141023"/>
            <a:chOff x="0" y="0"/>
            <a:chExt cx="6350000" cy="6350000"/>
          </a:xfrm>
        </p:grpSpPr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C6644C27-94C1-75A8-861E-0A91F51D6837}"/>
                </a:ext>
              </a:extLst>
            </p:cNvPr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3175000" y="0"/>
                  </a:moveTo>
                  <a:cubicBezTo>
                    <a:pt x="1421496" y="0"/>
                    <a:pt x="0" y="1421496"/>
                    <a:pt x="0" y="3175000"/>
                  </a:cubicBezTo>
                  <a:cubicBezTo>
                    <a:pt x="0" y="4928504"/>
                    <a:pt x="1421496" y="6350000"/>
                    <a:pt x="3175000" y="6350000"/>
                  </a:cubicBezTo>
                  <a:cubicBezTo>
                    <a:pt x="4928504" y="6350000"/>
                    <a:pt x="6350000" y="4928504"/>
                    <a:pt x="6350000" y="3175000"/>
                  </a:cubicBezTo>
                  <a:cubicBezTo>
                    <a:pt x="6350000" y="1421496"/>
                    <a:pt x="4928504" y="0"/>
                    <a:pt x="3175000" y="0"/>
                  </a:cubicBezTo>
                  <a:close/>
                </a:path>
              </a:pathLst>
            </a:custGeom>
            <a:solidFill>
              <a:srgbClr val="4E4F50"/>
            </a:solidFill>
          </p:spPr>
          <p:txBody>
            <a:bodyPr/>
            <a:lstStyle/>
            <a:p>
              <a:endParaRPr lang="ko-KR" altLang="en-US" sz="867"/>
            </a:p>
          </p:txBody>
        </p:sp>
      </p:grpSp>
      <p:grpSp>
        <p:nvGrpSpPr>
          <p:cNvPr id="13" name="Group 14">
            <a:extLst>
              <a:ext uri="{FF2B5EF4-FFF2-40B4-BE49-F238E27FC236}">
                <a16:creationId xmlns:a16="http://schemas.microsoft.com/office/drawing/2014/main" id="{EC54CF69-8884-9DF9-A5F0-F0ED73F4B7C1}"/>
              </a:ext>
            </a:extLst>
          </p:cNvPr>
          <p:cNvGrpSpPr/>
          <p:nvPr/>
        </p:nvGrpSpPr>
        <p:grpSpPr>
          <a:xfrm>
            <a:off x="2722568" y="2219039"/>
            <a:ext cx="141023" cy="141023"/>
            <a:chOff x="0" y="0"/>
            <a:chExt cx="6350000" cy="6350000"/>
          </a:xfrm>
        </p:grpSpPr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A784A80E-DAA4-9718-BED7-DB442DCBB89C}"/>
                </a:ext>
              </a:extLst>
            </p:cNvPr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3175000" y="0"/>
                  </a:moveTo>
                  <a:cubicBezTo>
                    <a:pt x="1421496" y="0"/>
                    <a:pt x="0" y="1421496"/>
                    <a:pt x="0" y="3175000"/>
                  </a:cubicBezTo>
                  <a:cubicBezTo>
                    <a:pt x="0" y="4928504"/>
                    <a:pt x="1421496" y="6350000"/>
                    <a:pt x="3175000" y="6350000"/>
                  </a:cubicBezTo>
                  <a:cubicBezTo>
                    <a:pt x="4928504" y="6350000"/>
                    <a:pt x="6350000" y="4928504"/>
                    <a:pt x="6350000" y="3175000"/>
                  </a:cubicBezTo>
                  <a:cubicBezTo>
                    <a:pt x="6350000" y="1421496"/>
                    <a:pt x="4928504" y="0"/>
                    <a:pt x="3175000" y="0"/>
                  </a:cubicBezTo>
                  <a:close/>
                </a:path>
              </a:pathLst>
            </a:custGeom>
            <a:solidFill>
              <a:srgbClr val="4E4F50"/>
            </a:solidFill>
          </p:spPr>
          <p:txBody>
            <a:bodyPr/>
            <a:lstStyle/>
            <a:p>
              <a:endParaRPr lang="ko-KR" altLang="en-US" sz="867" dirty="0"/>
            </a:p>
          </p:txBody>
        </p:sp>
      </p:grpSp>
      <p:grpSp>
        <p:nvGrpSpPr>
          <p:cNvPr id="15" name="Group 16">
            <a:extLst>
              <a:ext uri="{FF2B5EF4-FFF2-40B4-BE49-F238E27FC236}">
                <a16:creationId xmlns:a16="http://schemas.microsoft.com/office/drawing/2014/main" id="{6E33A8B8-0768-7E03-8ABD-B60AB4E6AF4B}"/>
              </a:ext>
            </a:extLst>
          </p:cNvPr>
          <p:cNvGrpSpPr/>
          <p:nvPr/>
        </p:nvGrpSpPr>
        <p:grpSpPr>
          <a:xfrm>
            <a:off x="2722568" y="4083252"/>
            <a:ext cx="141023" cy="141023"/>
            <a:chOff x="0" y="0"/>
            <a:chExt cx="6350000" cy="6350000"/>
          </a:xfrm>
        </p:grpSpPr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1603D82B-E504-47B8-4771-CAF94E6FF07B}"/>
                </a:ext>
              </a:extLst>
            </p:cNvPr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3175000" y="0"/>
                  </a:moveTo>
                  <a:cubicBezTo>
                    <a:pt x="1421496" y="0"/>
                    <a:pt x="0" y="1421496"/>
                    <a:pt x="0" y="3175000"/>
                  </a:cubicBezTo>
                  <a:cubicBezTo>
                    <a:pt x="0" y="4928504"/>
                    <a:pt x="1421496" y="6350000"/>
                    <a:pt x="3175000" y="6350000"/>
                  </a:cubicBezTo>
                  <a:cubicBezTo>
                    <a:pt x="4928504" y="6350000"/>
                    <a:pt x="6350000" y="4928504"/>
                    <a:pt x="6350000" y="3175000"/>
                  </a:cubicBezTo>
                  <a:cubicBezTo>
                    <a:pt x="6350000" y="1421496"/>
                    <a:pt x="4928504" y="0"/>
                    <a:pt x="3175000" y="0"/>
                  </a:cubicBezTo>
                  <a:close/>
                </a:path>
              </a:pathLst>
            </a:custGeom>
            <a:solidFill>
              <a:srgbClr val="4E4F50"/>
            </a:solidFill>
          </p:spPr>
          <p:txBody>
            <a:bodyPr/>
            <a:lstStyle/>
            <a:p>
              <a:endParaRPr lang="ko-KR" altLang="en-US" sz="867"/>
            </a:p>
          </p:txBody>
        </p:sp>
      </p:grpSp>
      <p:grpSp>
        <p:nvGrpSpPr>
          <p:cNvPr id="17" name="Group 18">
            <a:extLst>
              <a:ext uri="{FF2B5EF4-FFF2-40B4-BE49-F238E27FC236}">
                <a16:creationId xmlns:a16="http://schemas.microsoft.com/office/drawing/2014/main" id="{D6AC6D21-EC75-D375-017C-3B623F38E321}"/>
              </a:ext>
            </a:extLst>
          </p:cNvPr>
          <p:cNvGrpSpPr/>
          <p:nvPr/>
        </p:nvGrpSpPr>
        <p:grpSpPr>
          <a:xfrm>
            <a:off x="4890903" y="2219039"/>
            <a:ext cx="141023" cy="141023"/>
            <a:chOff x="0" y="0"/>
            <a:chExt cx="6350000" cy="6350000"/>
          </a:xfrm>
        </p:grpSpPr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F5AE67DB-7A05-9C61-EA54-20229D7FB2AE}"/>
                </a:ext>
              </a:extLst>
            </p:cNvPr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3175000" y="0"/>
                  </a:moveTo>
                  <a:cubicBezTo>
                    <a:pt x="1421496" y="0"/>
                    <a:pt x="0" y="1421496"/>
                    <a:pt x="0" y="3175000"/>
                  </a:cubicBezTo>
                  <a:cubicBezTo>
                    <a:pt x="0" y="4928504"/>
                    <a:pt x="1421496" y="6350000"/>
                    <a:pt x="3175000" y="6350000"/>
                  </a:cubicBezTo>
                  <a:cubicBezTo>
                    <a:pt x="4928504" y="6350000"/>
                    <a:pt x="6350000" y="4928504"/>
                    <a:pt x="6350000" y="3175000"/>
                  </a:cubicBezTo>
                  <a:cubicBezTo>
                    <a:pt x="6350000" y="1421496"/>
                    <a:pt x="4928504" y="0"/>
                    <a:pt x="3175000" y="0"/>
                  </a:cubicBezTo>
                  <a:close/>
                </a:path>
              </a:pathLst>
            </a:custGeom>
            <a:solidFill>
              <a:srgbClr val="4E4F50"/>
            </a:solidFill>
          </p:spPr>
          <p:txBody>
            <a:bodyPr/>
            <a:lstStyle/>
            <a:p>
              <a:endParaRPr lang="ko-KR" altLang="en-US" sz="867" dirty="0"/>
            </a:p>
          </p:txBody>
        </p:sp>
      </p:grpSp>
      <p:grpSp>
        <p:nvGrpSpPr>
          <p:cNvPr id="19" name="Group 20">
            <a:extLst>
              <a:ext uri="{FF2B5EF4-FFF2-40B4-BE49-F238E27FC236}">
                <a16:creationId xmlns:a16="http://schemas.microsoft.com/office/drawing/2014/main" id="{4E71E9AE-BD1D-1AD4-E083-8266EFE6E1C7}"/>
              </a:ext>
            </a:extLst>
          </p:cNvPr>
          <p:cNvGrpSpPr/>
          <p:nvPr/>
        </p:nvGrpSpPr>
        <p:grpSpPr>
          <a:xfrm>
            <a:off x="4890903" y="4083252"/>
            <a:ext cx="141023" cy="141023"/>
            <a:chOff x="0" y="0"/>
            <a:chExt cx="6350000" cy="6350000"/>
          </a:xfrm>
        </p:grpSpPr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94D30B61-0A3C-4879-B82C-A755DEF7A1B9}"/>
                </a:ext>
              </a:extLst>
            </p:cNvPr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3175000" y="0"/>
                  </a:moveTo>
                  <a:cubicBezTo>
                    <a:pt x="1421496" y="0"/>
                    <a:pt x="0" y="1421496"/>
                    <a:pt x="0" y="3175000"/>
                  </a:cubicBezTo>
                  <a:cubicBezTo>
                    <a:pt x="0" y="4928504"/>
                    <a:pt x="1421496" y="6350000"/>
                    <a:pt x="3175000" y="6350000"/>
                  </a:cubicBezTo>
                  <a:cubicBezTo>
                    <a:pt x="4928504" y="6350000"/>
                    <a:pt x="6350000" y="4928504"/>
                    <a:pt x="6350000" y="3175000"/>
                  </a:cubicBezTo>
                  <a:cubicBezTo>
                    <a:pt x="6350000" y="1421496"/>
                    <a:pt x="4928504" y="0"/>
                    <a:pt x="3175000" y="0"/>
                  </a:cubicBezTo>
                  <a:close/>
                </a:path>
              </a:pathLst>
            </a:custGeom>
            <a:solidFill>
              <a:srgbClr val="4E4F50"/>
            </a:solidFill>
          </p:spPr>
          <p:txBody>
            <a:bodyPr/>
            <a:lstStyle/>
            <a:p>
              <a:endParaRPr lang="ko-KR" altLang="en-US" sz="867" dirty="0"/>
            </a:p>
          </p:txBody>
        </p:sp>
      </p:grpSp>
      <p:grpSp>
        <p:nvGrpSpPr>
          <p:cNvPr id="21" name="Group 22">
            <a:extLst>
              <a:ext uri="{FF2B5EF4-FFF2-40B4-BE49-F238E27FC236}">
                <a16:creationId xmlns:a16="http://schemas.microsoft.com/office/drawing/2014/main" id="{2E71D52C-40F1-8EB9-0356-42DACC5E7770}"/>
              </a:ext>
            </a:extLst>
          </p:cNvPr>
          <p:cNvGrpSpPr/>
          <p:nvPr/>
        </p:nvGrpSpPr>
        <p:grpSpPr>
          <a:xfrm>
            <a:off x="7049712" y="2219039"/>
            <a:ext cx="141023" cy="141023"/>
            <a:chOff x="0" y="0"/>
            <a:chExt cx="6350000" cy="6350000"/>
          </a:xfrm>
        </p:grpSpPr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DEDF53B9-E2FF-CA87-463C-CBC111485431}"/>
                </a:ext>
              </a:extLst>
            </p:cNvPr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3175000" y="0"/>
                  </a:moveTo>
                  <a:cubicBezTo>
                    <a:pt x="1421496" y="0"/>
                    <a:pt x="0" y="1421496"/>
                    <a:pt x="0" y="3175000"/>
                  </a:cubicBezTo>
                  <a:cubicBezTo>
                    <a:pt x="0" y="4928504"/>
                    <a:pt x="1421496" y="6350000"/>
                    <a:pt x="3175000" y="6350000"/>
                  </a:cubicBezTo>
                  <a:cubicBezTo>
                    <a:pt x="4928504" y="6350000"/>
                    <a:pt x="6350000" y="4928504"/>
                    <a:pt x="6350000" y="3175000"/>
                  </a:cubicBezTo>
                  <a:cubicBezTo>
                    <a:pt x="6350000" y="1421496"/>
                    <a:pt x="4928504" y="0"/>
                    <a:pt x="3175000" y="0"/>
                  </a:cubicBezTo>
                  <a:close/>
                </a:path>
              </a:pathLst>
            </a:custGeom>
            <a:solidFill>
              <a:srgbClr val="4E4F50"/>
            </a:solidFill>
          </p:spPr>
          <p:txBody>
            <a:bodyPr/>
            <a:lstStyle/>
            <a:p>
              <a:endParaRPr lang="ko-KR" altLang="en-US" sz="867"/>
            </a:p>
          </p:txBody>
        </p:sp>
      </p:grpSp>
      <p:grpSp>
        <p:nvGrpSpPr>
          <p:cNvPr id="23" name="Group 24">
            <a:extLst>
              <a:ext uri="{FF2B5EF4-FFF2-40B4-BE49-F238E27FC236}">
                <a16:creationId xmlns:a16="http://schemas.microsoft.com/office/drawing/2014/main" id="{F1E354EE-9DE3-95F2-8926-9B94B65A9BE3}"/>
              </a:ext>
            </a:extLst>
          </p:cNvPr>
          <p:cNvGrpSpPr/>
          <p:nvPr/>
        </p:nvGrpSpPr>
        <p:grpSpPr>
          <a:xfrm>
            <a:off x="7049712" y="4083252"/>
            <a:ext cx="141023" cy="141023"/>
            <a:chOff x="0" y="0"/>
            <a:chExt cx="6350000" cy="6350000"/>
          </a:xfrm>
        </p:grpSpPr>
        <p:sp>
          <p:nvSpPr>
            <p:cNvPr id="24" name="Freeform 25">
              <a:extLst>
                <a:ext uri="{FF2B5EF4-FFF2-40B4-BE49-F238E27FC236}">
                  <a16:creationId xmlns:a16="http://schemas.microsoft.com/office/drawing/2014/main" id="{0F619300-848C-3EE1-5FC0-6DF40978DD7E}"/>
                </a:ext>
              </a:extLst>
            </p:cNvPr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3175000" y="0"/>
                  </a:moveTo>
                  <a:cubicBezTo>
                    <a:pt x="1421496" y="0"/>
                    <a:pt x="0" y="1421496"/>
                    <a:pt x="0" y="3175000"/>
                  </a:cubicBezTo>
                  <a:cubicBezTo>
                    <a:pt x="0" y="4928504"/>
                    <a:pt x="1421496" y="6350000"/>
                    <a:pt x="3175000" y="6350000"/>
                  </a:cubicBezTo>
                  <a:cubicBezTo>
                    <a:pt x="4928504" y="6350000"/>
                    <a:pt x="6350000" y="4928504"/>
                    <a:pt x="6350000" y="3175000"/>
                  </a:cubicBezTo>
                  <a:cubicBezTo>
                    <a:pt x="6350000" y="1421496"/>
                    <a:pt x="4928504" y="0"/>
                    <a:pt x="3175000" y="0"/>
                  </a:cubicBezTo>
                  <a:close/>
                </a:path>
              </a:pathLst>
            </a:custGeom>
            <a:solidFill>
              <a:srgbClr val="4E4F50"/>
            </a:solidFill>
          </p:spPr>
          <p:txBody>
            <a:bodyPr/>
            <a:lstStyle/>
            <a:p>
              <a:endParaRPr lang="ko-KR" altLang="en-US" sz="867" dirty="0"/>
            </a:p>
          </p:txBody>
        </p:sp>
      </p:grpSp>
      <p:sp>
        <p:nvSpPr>
          <p:cNvPr id="25" name="TextBox 26">
            <a:extLst>
              <a:ext uri="{FF2B5EF4-FFF2-40B4-BE49-F238E27FC236}">
                <a16:creationId xmlns:a16="http://schemas.microsoft.com/office/drawing/2014/main" id="{105532CB-EE45-4D31-7040-507DE3966328}"/>
              </a:ext>
            </a:extLst>
          </p:cNvPr>
          <p:cNvSpPr txBox="1"/>
          <p:nvPr/>
        </p:nvSpPr>
        <p:spPr>
          <a:xfrm>
            <a:off x="639958" y="2421620"/>
            <a:ext cx="1724087" cy="2949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340"/>
              </a:lnSpc>
              <a:spcBef>
                <a:spcPct val="0"/>
              </a:spcBef>
            </a:pPr>
            <a:r>
              <a:rPr lang="en-US" sz="180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erif KR Heavy"/>
                <a:sym typeface="Source Han Serif KR Heavy"/>
              </a:rPr>
              <a:t>2017</a:t>
            </a:r>
          </a:p>
        </p:txBody>
      </p:sp>
      <p:sp>
        <p:nvSpPr>
          <p:cNvPr id="26" name="TextBox 27">
            <a:extLst>
              <a:ext uri="{FF2B5EF4-FFF2-40B4-BE49-F238E27FC236}">
                <a16:creationId xmlns:a16="http://schemas.microsoft.com/office/drawing/2014/main" id="{D43BE565-2326-4397-2C0C-110D6912C615}"/>
              </a:ext>
            </a:extLst>
          </p:cNvPr>
          <p:cNvSpPr txBox="1"/>
          <p:nvPr/>
        </p:nvSpPr>
        <p:spPr>
          <a:xfrm>
            <a:off x="639958" y="4286187"/>
            <a:ext cx="1724087" cy="2949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340"/>
              </a:lnSpc>
              <a:spcBef>
                <a:spcPct val="0"/>
              </a:spcBef>
            </a:pPr>
            <a:r>
              <a:rPr lang="en-US" sz="180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erif KR Heavy"/>
                <a:sym typeface="Source Han Serif KR Heavy"/>
              </a:rPr>
              <a:t>2021</a:t>
            </a:r>
          </a:p>
        </p:txBody>
      </p:sp>
      <p:sp>
        <p:nvSpPr>
          <p:cNvPr id="27" name="TextBox 28">
            <a:extLst>
              <a:ext uri="{FF2B5EF4-FFF2-40B4-BE49-F238E27FC236}">
                <a16:creationId xmlns:a16="http://schemas.microsoft.com/office/drawing/2014/main" id="{D6C71E75-BEE1-F4DA-AD34-7492BFE33C98}"/>
              </a:ext>
            </a:extLst>
          </p:cNvPr>
          <p:cNvSpPr txBox="1"/>
          <p:nvPr/>
        </p:nvSpPr>
        <p:spPr>
          <a:xfrm>
            <a:off x="2798768" y="2421620"/>
            <a:ext cx="1724087" cy="2949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340"/>
              </a:lnSpc>
              <a:spcBef>
                <a:spcPct val="0"/>
              </a:spcBef>
            </a:pPr>
            <a:r>
              <a:rPr lang="en-US" sz="180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erif KR Heavy"/>
                <a:sym typeface="Source Han Serif KR Heavy"/>
              </a:rPr>
              <a:t>2018</a:t>
            </a:r>
          </a:p>
        </p:txBody>
      </p:sp>
      <p:sp>
        <p:nvSpPr>
          <p:cNvPr id="28" name="TextBox 29">
            <a:extLst>
              <a:ext uri="{FF2B5EF4-FFF2-40B4-BE49-F238E27FC236}">
                <a16:creationId xmlns:a16="http://schemas.microsoft.com/office/drawing/2014/main" id="{87FC3E4D-F220-6257-A42D-D12634FBB29E}"/>
              </a:ext>
            </a:extLst>
          </p:cNvPr>
          <p:cNvSpPr txBox="1"/>
          <p:nvPr/>
        </p:nvSpPr>
        <p:spPr>
          <a:xfrm>
            <a:off x="2798768" y="4286187"/>
            <a:ext cx="1724087" cy="2949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340"/>
              </a:lnSpc>
              <a:spcBef>
                <a:spcPct val="0"/>
              </a:spcBef>
            </a:pPr>
            <a:r>
              <a:rPr lang="en-US" sz="180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erif KR Heavy"/>
                <a:sym typeface="Source Han Serif KR Heavy"/>
              </a:rPr>
              <a:t>2022</a:t>
            </a:r>
          </a:p>
        </p:txBody>
      </p:sp>
      <p:sp>
        <p:nvSpPr>
          <p:cNvPr id="29" name="TextBox 30">
            <a:extLst>
              <a:ext uri="{FF2B5EF4-FFF2-40B4-BE49-F238E27FC236}">
                <a16:creationId xmlns:a16="http://schemas.microsoft.com/office/drawing/2014/main" id="{0609D310-CA69-AC4E-D108-AC6664506E6E}"/>
              </a:ext>
            </a:extLst>
          </p:cNvPr>
          <p:cNvSpPr txBox="1"/>
          <p:nvPr/>
        </p:nvSpPr>
        <p:spPr>
          <a:xfrm>
            <a:off x="4967103" y="2421620"/>
            <a:ext cx="1724087" cy="2949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340"/>
              </a:lnSpc>
              <a:spcBef>
                <a:spcPct val="0"/>
              </a:spcBef>
            </a:pPr>
            <a:r>
              <a:rPr lang="en-US" sz="180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erif KR Heavy"/>
                <a:sym typeface="Source Han Serif KR Heavy"/>
              </a:rPr>
              <a:t>2019</a:t>
            </a:r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74FFA1C8-EECC-E069-758A-3DB179252D81}"/>
              </a:ext>
            </a:extLst>
          </p:cNvPr>
          <p:cNvSpPr txBox="1"/>
          <p:nvPr/>
        </p:nvSpPr>
        <p:spPr>
          <a:xfrm>
            <a:off x="4967103" y="4286187"/>
            <a:ext cx="1724087" cy="2949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340"/>
              </a:lnSpc>
              <a:spcBef>
                <a:spcPct val="0"/>
              </a:spcBef>
            </a:pPr>
            <a:r>
              <a:rPr lang="en-US" sz="180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erif KR Heavy"/>
                <a:sym typeface="Source Han Serif KR Heavy"/>
              </a:rPr>
              <a:t>2023</a:t>
            </a:r>
          </a:p>
        </p:txBody>
      </p:sp>
      <p:sp>
        <p:nvSpPr>
          <p:cNvPr id="31" name="TextBox 32">
            <a:extLst>
              <a:ext uri="{FF2B5EF4-FFF2-40B4-BE49-F238E27FC236}">
                <a16:creationId xmlns:a16="http://schemas.microsoft.com/office/drawing/2014/main" id="{F4D113E4-4E41-9093-4855-6AC255829031}"/>
              </a:ext>
            </a:extLst>
          </p:cNvPr>
          <p:cNvSpPr txBox="1"/>
          <p:nvPr/>
        </p:nvSpPr>
        <p:spPr>
          <a:xfrm>
            <a:off x="7125912" y="2421620"/>
            <a:ext cx="1724087" cy="2949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340"/>
              </a:lnSpc>
              <a:spcBef>
                <a:spcPct val="0"/>
              </a:spcBef>
            </a:pPr>
            <a:r>
              <a:rPr lang="en-US" sz="180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erif KR Heavy"/>
                <a:sym typeface="Source Han Serif KR Heavy"/>
              </a:rPr>
              <a:t>2020</a:t>
            </a:r>
          </a:p>
        </p:txBody>
      </p:sp>
      <p:sp>
        <p:nvSpPr>
          <p:cNvPr id="32" name="TextBox 33">
            <a:extLst>
              <a:ext uri="{FF2B5EF4-FFF2-40B4-BE49-F238E27FC236}">
                <a16:creationId xmlns:a16="http://schemas.microsoft.com/office/drawing/2014/main" id="{096A6B24-210B-4DAB-1E69-21140D78E995}"/>
              </a:ext>
            </a:extLst>
          </p:cNvPr>
          <p:cNvSpPr txBox="1"/>
          <p:nvPr/>
        </p:nvSpPr>
        <p:spPr>
          <a:xfrm>
            <a:off x="7125912" y="4286187"/>
            <a:ext cx="1724087" cy="2949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340"/>
              </a:lnSpc>
              <a:spcBef>
                <a:spcPct val="0"/>
              </a:spcBef>
            </a:pPr>
            <a:r>
              <a:rPr lang="en-US" sz="180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erif KR Heavy"/>
                <a:sym typeface="Source Han Serif KR Heavy"/>
              </a:rPr>
              <a:t>2024</a:t>
            </a:r>
          </a:p>
        </p:txBody>
      </p:sp>
      <p:sp>
        <p:nvSpPr>
          <p:cNvPr id="33" name="TextBox 34">
            <a:extLst>
              <a:ext uri="{FF2B5EF4-FFF2-40B4-BE49-F238E27FC236}">
                <a16:creationId xmlns:a16="http://schemas.microsoft.com/office/drawing/2014/main" id="{2656554D-988A-AC35-57F9-0F98A7A4EF74}"/>
              </a:ext>
            </a:extLst>
          </p:cNvPr>
          <p:cNvSpPr txBox="1"/>
          <p:nvPr/>
        </p:nvSpPr>
        <p:spPr>
          <a:xfrm>
            <a:off x="639958" y="2808573"/>
            <a:ext cx="2052000" cy="19428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93"/>
              </a:lnSpc>
            </a:pP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㈜</a:t>
            </a:r>
            <a:r>
              <a:rPr lang="ko-KR" altLang="en-US" sz="1100" spc="-28" dirty="0" err="1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뱅가드랩</a:t>
            </a: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 설립</a:t>
            </a:r>
            <a:endParaRPr lang="en-US" sz="1100" spc="-28" dirty="0">
              <a:solidFill>
                <a:srgbClr val="4E4F50"/>
              </a:solidFill>
              <a:latin typeface="나눔스퀘어 네오 Regular" panose="00000500000000000000" pitchFamily="2" charset="-127"/>
              <a:ea typeface="나눔스퀘어 네오 Regular" panose="00000500000000000000" pitchFamily="2" charset="-127"/>
              <a:cs typeface="Source Han Sans KR Normal"/>
              <a:sym typeface="Source Han Sans KR Normal"/>
            </a:endParaRPr>
          </a:p>
        </p:txBody>
      </p:sp>
      <p:sp>
        <p:nvSpPr>
          <p:cNvPr id="34" name="TextBox 35">
            <a:extLst>
              <a:ext uri="{FF2B5EF4-FFF2-40B4-BE49-F238E27FC236}">
                <a16:creationId xmlns:a16="http://schemas.microsoft.com/office/drawing/2014/main" id="{23D8408B-AC09-73DB-21A4-63842F7B7418}"/>
              </a:ext>
            </a:extLst>
          </p:cNvPr>
          <p:cNvSpPr txBox="1"/>
          <p:nvPr/>
        </p:nvSpPr>
        <p:spPr>
          <a:xfrm>
            <a:off x="639958" y="4673140"/>
            <a:ext cx="2052000" cy="80849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93"/>
              </a:lnSpc>
            </a:pPr>
            <a:r>
              <a:rPr lang="en-US" altLang="ko-KR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LG CNS </a:t>
            </a:r>
            <a:r>
              <a:rPr lang="en-US" altLang="ko-KR" sz="1100" spc="-28" dirty="0" err="1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PerfecTwin</a:t>
            </a:r>
            <a:r>
              <a:rPr lang="en-US" altLang="ko-KR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 </a:t>
            </a: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파트너 선정</a:t>
            </a:r>
          </a:p>
          <a:p>
            <a:pPr>
              <a:lnSpc>
                <a:spcPts val="1593"/>
              </a:lnSpc>
            </a:pPr>
            <a:r>
              <a:rPr lang="ko-KR" altLang="en-US" sz="1100" spc="-28" dirty="0" err="1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한국소프트웨어산업협회</a:t>
            </a: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 소프트웨어사업자 등록</a:t>
            </a:r>
            <a:endParaRPr lang="en-US" sz="1100" spc="-28" dirty="0">
              <a:solidFill>
                <a:srgbClr val="4E4F50"/>
              </a:solidFill>
              <a:latin typeface="나눔스퀘어 네오 Regular" panose="00000500000000000000" pitchFamily="2" charset="-127"/>
              <a:ea typeface="나눔스퀘어 네오 Regular" panose="00000500000000000000" pitchFamily="2" charset="-127"/>
              <a:cs typeface="Source Han Sans KR Normal"/>
              <a:sym typeface="Source Han Sans KR Normal"/>
            </a:endParaRPr>
          </a:p>
        </p:txBody>
      </p:sp>
      <p:sp>
        <p:nvSpPr>
          <p:cNvPr id="35" name="TextBox 36">
            <a:extLst>
              <a:ext uri="{FF2B5EF4-FFF2-40B4-BE49-F238E27FC236}">
                <a16:creationId xmlns:a16="http://schemas.microsoft.com/office/drawing/2014/main" id="{E4E81592-C273-28E9-2566-13E9D76F0251}"/>
              </a:ext>
            </a:extLst>
          </p:cNvPr>
          <p:cNvSpPr txBox="1"/>
          <p:nvPr/>
        </p:nvSpPr>
        <p:spPr>
          <a:xfrm>
            <a:off x="2798768" y="2808573"/>
            <a:ext cx="2052000" cy="80849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93"/>
              </a:lnSpc>
            </a:pP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롯데정보통신 협력사 선정</a:t>
            </a:r>
            <a:endParaRPr lang="en-US" altLang="ko-KR" sz="1100" spc="-28" dirty="0">
              <a:solidFill>
                <a:srgbClr val="4E4F50"/>
              </a:solidFill>
              <a:latin typeface="나눔스퀘어 네오 Regular" panose="00000500000000000000" pitchFamily="2" charset="-127"/>
              <a:ea typeface="나눔스퀘어 네오 Regular" panose="00000500000000000000" pitchFamily="2" charset="-127"/>
              <a:cs typeface="Source Han Sans KR Normal"/>
              <a:sym typeface="Source Han Sans KR Normal"/>
            </a:endParaRPr>
          </a:p>
          <a:p>
            <a:pPr>
              <a:lnSpc>
                <a:spcPts val="1593"/>
              </a:lnSpc>
            </a:pPr>
            <a:r>
              <a:rPr lang="ko-KR" altLang="en-US" sz="1100" spc="-28" dirty="0" err="1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삼정</a:t>
            </a:r>
            <a:r>
              <a:rPr lang="en-US" altLang="ko-KR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KPMG </a:t>
            </a: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협력사 선정</a:t>
            </a:r>
            <a:endParaRPr lang="en-US" sz="1100" spc="-28" dirty="0">
              <a:solidFill>
                <a:srgbClr val="4E4F50"/>
              </a:solidFill>
              <a:latin typeface="나눔스퀘어 네오 Regular" panose="00000500000000000000" pitchFamily="2" charset="-127"/>
              <a:ea typeface="나눔스퀘어 네오 Regular" panose="00000500000000000000" pitchFamily="2" charset="-127"/>
              <a:cs typeface="Source Han Sans KR Normal"/>
              <a:sym typeface="Source Han Sans KR Normal"/>
            </a:endParaRPr>
          </a:p>
          <a:p>
            <a:pPr>
              <a:lnSpc>
                <a:spcPts val="1593"/>
              </a:lnSpc>
            </a:pPr>
            <a:r>
              <a:rPr 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Microsoft CSP </a:t>
            </a: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파트너 등록</a:t>
            </a:r>
            <a:endParaRPr lang="en-US" altLang="ko-KR" sz="1100" spc="-28" dirty="0">
              <a:solidFill>
                <a:srgbClr val="4E4F50"/>
              </a:solidFill>
              <a:latin typeface="나눔스퀘어 네오 Regular" panose="00000500000000000000" pitchFamily="2" charset="-127"/>
              <a:ea typeface="나눔스퀘어 네오 Regular" panose="00000500000000000000" pitchFamily="2" charset="-127"/>
              <a:cs typeface="Source Han Sans KR Normal"/>
              <a:sym typeface="Source Han Sans KR Normal"/>
            </a:endParaRPr>
          </a:p>
          <a:p>
            <a:pPr>
              <a:lnSpc>
                <a:spcPts val="1593"/>
              </a:lnSpc>
            </a:pPr>
            <a:r>
              <a:rPr 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LG CNS </a:t>
            </a:r>
            <a:r>
              <a:rPr lang="ko-KR" altLang="en-US" sz="1100" spc="-28" dirty="0" err="1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협렵사</a:t>
            </a: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 선정</a:t>
            </a:r>
            <a:endParaRPr lang="en-US" sz="1100" spc="-28" dirty="0">
              <a:solidFill>
                <a:srgbClr val="4E4F50"/>
              </a:solidFill>
              <a:latin typeface="나눔스퀘어 네오 Regular" panose="00000500000000000000" pitchFamily="2" charset="-127"/>
              <a:ea typeface="나눔스퀘어 네오 Regular" panose="00000500000000000000" pitchFamily="2" charset="-127"/>
              <a:cs typeface="Source Han Sans KR Normal"/>
              <a:sym typeface="Source Han Sans KR Normal"/>
            </a:endParaRPr>
          </a:p>
        </p:txBody>
      </p:sp>
      <p:sp>
        <p:nvSpPr>
          <p:cNvPr id="36" name="TextBox 37">
            <a:extLst>
              <a:ext uri="{FF2B5EF4-FFF2-40B4-BE49-F238E27FC236}">
                <a16:creationId xmlns:a16="http://schemas.microsoft.com/office/drawing/2014/main" id="{5F6719AE-AE77-0B3D-457F-FE2CDAA8501E}"/>
              </a:ext>
            </a:extLst>
          </p:cNvPr>
          <p:cNvSpPr txBox="1"/>
          <p:nvPr/>
        </p:nvSpPr>
        <p:spPr>
          <a:xfrm>
            <a:off x="2798768" y="4673140"/>
            <a:ext cx="2052000" cy="101502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93"/>
              </a:lnSpc>
            </a:pPr>
            <a:r>
              <a:rPr lang="en-US" altLang="ko-KR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IBM </a:t>
            </a: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파트너 선정</a:t>
            </a:r>
            <a:endParaRPr lang="en-US" altLang="ko-KR" sz="1100" spc="-28" dirty="0">
              <a:solidFill>
                <a:srgbClr val="4E4F50"/>
              </a:solidFill>
              <a:latin typeface="나눔스퀘어 네오 Regular" panose="00000500000000000000" pitchFamily="2" charset="-127"/>
              <a:ea typeface="나눔스퀘어 네오 Regular" panose="00000500000000000000" pitchFamily="2" charset="-127"/>
              <a:cs typeface="Source Han Sans KR Normal"/>
              <a:sym typeface="Source Han Sans KR Normal"/>
            </a:endParaRPr>
          </a:p>
          <a:p>
            <a:pPr>
              <a:lnSpc>
                <a:spcPts val="1593"/>
              </a:lnSpc>
            </a:pP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멀티 세션 여신 거래 특허 등록</a:t>
            </a:r>
          </a:p>
          <a:p>
            <a:pPr>
              <a:lnSpc>
                <a:spcPts val="1593"/>
              </a:lnSpc>
            </a:pP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여신거래 시스템</a:t>
            </a:r>
            <a:r>
              <a:rPr lang="en-US" altLang="ko-KR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/</a:t>
            </a: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장치</a:t>
            </a:r>
            <a:r>
              <a:rPr lang="en-US" altLang="ko-KR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/</a:t>
            </a: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단말기 관련 특허 등록</a:t>
            </a:r>
          </a:p>
          <a:p>
            <a:pPr>
              <a:lnSpc>
                <a:spcPts val="1593"/>
              </a:lnSpc>
            </a:pPr>
            <a:r>
              <a:rPr lang="en-US" altLang="ko-KR" sz="1100" spc="-28" dirty="0" err="1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vmark</a:t>
            </a:r>
            <a:r>
              <a:rPr lang="en-US" altLang="ko-KR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-F </a:t>
            </a: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저작권 등록</a:t>
            </a:r>
            <a:endParaRPr lang="en-US" sz="1100" spc="-28" dirty="0">
              <a:solidFill>
                <a:srgbClr val="4E4F50"/>
              </a:solidFill>
              <a:latin typeface="나눔스퀘어 네오 Regular" panose="00000500000000000000" pitchFamily="2" charset="-127"/>
              <a:ea typeface="나눔스퀘어 네오 Regular" panose="00000500000000000000" pitchFamily="2" charset="-127"/>
              <a:cs typeface="Source Han Sans KR Normal"/>
              <a:sym typeface="Source Han Sans KR Normal"/>
            </a:endParaRPr>
          </a:p>
        </p:txBody>
      </p:sp>
      <p:sp>
        <p:nvSpPr>
          <p:cNvPr id="37" name="TextBox 38">
            <a:extLst>
              <a:ext uri="{FF2B5EF4-FFF2-40B4-BE49-F238E27FC236}">
                <a16:creationId xmlns:a16="http://schemas.microsoft.com/office/drawing/2014/main" id="{5A51A5FF-53FA-D0FF-CD80-85B1DEC87F29}"/>
              </a:ext>
            </a:extLst>
          </p:cNvPr>
          <p:cNvSpPr txBox="1"/>
          <p:nvPr/>
        </p:nvSpPr>
        <p:spPr>
          <a:xfrm>
            <a:off x="4967103" y="2808573"/>
            <a:ext cx="2052000" cy="101502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93"/>
              </a:lnSpc>
            </a:pPr>
            <a:r>
              <a:rPr lang="en-US" altLang="ko-KR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GRS-Extract </a:t>
            </a: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저작권 등록</a:t>
            </a:r>
            <a:endParaRPr lang="en-US" altLang="ko-KR" sz="1100" spc="-28" dirty="0">
              <a:solidFill>
                <a:srgbClr val="4E4F50"/>
              </a:solidFill>
              <a:latin typeface="나눔스퀘어 네오 Regular" panose="00000500000000000000" pitchFamily="2" charset="-127"/>
              <a:ea typeface="나눔스퀘어 네오 Regular" panose="00000500000000000000" pitchFamily="2" charset="-127"/>
              <a:cs typeface="Source Han Sans KR Normal"/>
              <a:sym typeface="Source Han Sans KR Normal"/>
            </a:endParaRPr>
          </a:p>
          <a:p>
            <a:pPr>
              <a:lnSpc>
                <a:spcPts val="1593"/>
              </a:lnSpc>
            </a:pP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벤처기업 인증 기술평가 우수기업 </a:t>
            </a:r>
            <a:r>
              <a:rPr lang="en-US" altLang="ko-KR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(NICE)</a:t>
            </a:r>
          </a:p>
          <a:p>
            <a:pPr>
              <a:lnSpc>
                <a:spcPts val="1593"/>
              </a:lnSpc>
            </a:pP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기업부설 연구소 설립</a:t>
            </a:r>
            <a:endParaRPr lang="en-US" altLang="ko-KR" sz="1100" spc="-28" dirty="0">
              <a:solidFill>
                <a:srgbClr val="4E4F50"/>
              </a:solidFill>
              <a:latin typeface="나눔스퀘어 네오 Regular" panose="00000500000000000000" pitchFamily="2" charset="-127"/>
              <a:ea typeface="나눔스퀘어 네오 Regular" panose="00000500000000000000" pitchFamily="2" charset="-127"/>
              <a:cs typeface="Source Han Sans KR Normal"/>
              <a:sym typeface="Source Han Sans KR Normal"/>
            </a:endParaRPr>
          </a:p>
          <a:p>
            <a:pPr>
              <a:lnSpc>
                <a:spcPts val="1593"/>
              </a:lnSpc>
            </a:pPr>
            <a:r>
              <a:rPr lang="en-US" altLang="ko-KR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UI Path RPA </a:t>
            </a: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파트너 체결</a:t>
            </a:r>
            <a:endParaRPr lang="en-US" sz="1100" spc="-28" dirty="0">
              <a:solidFill>
                <a:srgbClr val="4E4F50"/>
              </a:solidFill>
              <a:latin typeface="나눔스퀘어 네오 Regular" panose="00000500000000000000" pitchFamily="2" charset="-127"/>
              <a:ea typeface="나눔스퀘어 네오 Regular" panose="00000500000000000000" pitchFamily="2" charset="-127"/>
              <a:cs typeface="Source Han Sans KR Normal"/>
              <a:sym typeface="Source Han Sans KR Normal"/>
            </a:endParaRPr>
          </a:p>
        </p:txBody>
      </p:sp>
      <p:sp>
        <p:nvSpPr>
          <p:cNvPr id="38" name="TextBox 39">
            <a:extLst>
              <a:ext uri="{FF2B5EF4-FFF2-40B4-BE49-F238E27FC236}">
                <a16:creationId xmlns:a16="http://schemas.microsoft.com/office/drawing/2014/main" id="{EEA6F805-0AF3-71D3-F85F-8DC1FA94A802}"/>
              </a:ext>
            </a:extLst>
          </p:cNvPr>
          <p:cNvSpPr txBox="1"/>
          <p:nvPr/>
        </p:nvSpPr>
        <p:spPr>
          <a:xfrm>
            <a:off x="4967103" y="4673140"/>
            <a:ext cx="2052000" cy="3994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93"/>
              </a:lnSpc>
            </a:pP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수협 </a:t>
            </a:r>
            <a:r>
              <a:rPr lang="en-US" altLang="ko-KR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IT </a:t>
            </a: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협력사 선정</a:t>
            </a:r>
          </a:p>
          <a:p>
            <a:pPr>
              <a:lnSpc>
                <a:spcPts val="1593"/>
              </a:lnSpc>
            </a:pP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농협정보시스템 협력사 선정</a:t>
            </a:r>
            <a:endParaRPr lang="en-US" sz="1100" spc="-28" dirty="0">
              <a:solidFill>
                <a:srgbClr val="4E4F50"/>
              </a:solidFill>
              <a:latin typeface="나눔스퀘어 네오 Regular" panose="00000500000000000000" pitchFamily="2" charset="-127"/>
              <a:ea typeface="나눔스퀘어 네오 Regular" panose="00000500000000000000" pitchFamily="2" charset="-127"/>
              <a:cs typeface="Source Han Sans KR Normal"/>
              <a:sym typeface="Source Han Sans KR Normal"/>
            </a:endParaRPr>
          </a:p>
        </p:txBody>
      </p:sp>
      <p:sp>
        <p:nvSpPr>
          <p:cNvPr id="39" name="TextBox 40">
            <a:extLst>
              <a:ext uri="{FF2B5EF4-FFF2-40B4-BE49-F238E27FC236}">
                <a16:creationId xmlns:a16="http://schemas.microsoft.com/office/drawing/2014/main" id="{C3FC38BB-871B-5765-12C3-317788AADD33}"/>
              </a:ext>
            </a:extLst>
          </p:cNvPr>
          <p:cNvSpPr txBox="1"/>
          <p:nvPr/>
        </p:nvSpPr>
        <p:spPr>
          <a:xfrm>
            <a:off x="7125912" y="2808573"/>
            <a:ext cx="2052000" cy="10136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93"/>
              </a:lnSpc>
            </a:pPr>
            <a:r>
              <a:rPr lang="en-US" altLang="ko-KR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Microsoft Silver Partner </a:t>
            </a: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획득</a:t>
            </a:r>
          </a:p>
          <a:p>
            <a:pPr>
              <a:lnSpc>
                <a:spcPts val="1593"/>
              </a:lnSpc>
            </a:pPr>
            <a:r>
              <a:rPr lang="ko-KR" altLang="en-US" sz="1100" spc="-28" dirty="0" err="1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인젠트</a:t>
            </a: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 </a:t>
            </a:r>
            <a:r>
              <a:rPr lang="en-US" altLang="ko-KR" sz="1100" spc="-28" dirty="0" err="1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eXperDB</a:t>
            </a:r>
            <a:r>
              <a:rPr lang="en-US" altLang="ko-KR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 </a:t>
            </a: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파트너 체결</a:t>
            </a:r>
          </a:p>
          <a:p>
            <a:pPr>
              <a:lnSpc>
                <a:spcPts val="1593"/>
              </a:lnSpc>
            </a:pPr>
            <a:r>
              <a:rPr lang="en-US" altLang="ko-KR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BI Matrix </a:t>
            </a: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파트너 체결</a:t>
            </a:r>
          </a:p>
          <a:p>
            <a:pPr>
              <a:lnSpc>
                <a:spcPts val="1593"/>
              </a:lnSpc>
            </a:pPr>
            <a:r>
              <a:rPr lang="en-US" altLang="ko-KR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GRS-Report </a:t>
            </a: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저작권 등록</a:t>
            </a:r>
            <a:endParaRPr lang="en-US" altLang="ko-KR" sz="1100" spc="-28" dirty="0">
              <a:solidFill>
                <a:srgbClr val="4E4F50"/>
              </a:solidFill>
              <a:latin typeface="나눔스퀘어 네오 Regular" panose="00000500000000000000" pitchFamily="2" charset="-127"/>
              <a:ea typeface="나눔스퀘어 네오 Regular" panose="00000500000000000000" pitchFamily="2" charset="-127"/>
              <a:cs typeface="Source Han Sans KR Normal"/>
              <a:sym typeface="Source Han Sans KR Normal"/>
            </a:endParaRPr>
          </a:p>
          <a:p>
            <a:pPr>
              <a:lnSpc>
                <a:spcPts val="1593"/>
              </a:lnSpc>
            </a:pPr>
            <a:r>
              <a:rPr lang="en-US" altLang="ko-KR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GRS-Model </a:t>
            </a: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저작권 등록</a:t>
            </a:r>
            <a:endParaRPr lang="en-US" sz="1100" spc="-28" dirty="0">
              <a:solidFill>
                <a:srgbClr val="4E4F50"/>
              </a:solidFill>
              <a:latin typeface="나눔스퀘어 네오 Regular" panose="00000500000000000000" pitchFamily="2" charset="-127"/>
              <a:ea typeface="나눔스퀘어 네오 Regular" panose="00000500000000000000" pitchFamily="2" charset="-127"/>
              <a:cs typeface="Source Han Sans KR Normal"/>
              <a:sym typeface="Source Han Sans KR Normal"/>
            </a:endParaRPr>
          </a:p>
        </p:txBody>
      </p:sp>
      <p:sp>
        <p:nvSpPr>
          <p:cNvPr id="40" name="TextBox 41">
            <a:extLst>
              <a:ext uri="{FF2B5EF4-FFF2-40B4-BE49-F238E27FC236}">
                <a16:creationId xmlns:a16="http://schemas.microsoft.com/office/drawing/2014/main" id="{3ADC70F5-D21E-992E-5914-CDD7A27D30D8}"/>
              </a:ext>
            </a:extLst>
          </p:cNvPr>
          <p:cNvSpPr txBox="1"/>
          <p:nvPr/>
        </p:nvSpPr>
        <p:spPr>
          <a:xfrm>
            <a:off x="7125912" y="4673140"/>
            <a:ext cx="2052000" cy="19428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93"/>
              </a:lnSpc>
            </a:pP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신사업 </a:t>
            </a:r>
            <a:r>
              <a:rPr lang="ko-KR" altLang="en-US" sz="1100" spc="-28" dirty="0" err="1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멘딕스사업팀</a:t>
            </a:r>
            <a:r>
              <a:rPr lang="ko-KR" altLang="en-US" sz="1100" spc="-28" dirty="0">
                <a:solidFill>
                  <a:srgbClr val="4E4F5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Normal"/>
                <a:sym typeface="Source Han Sans KR Normal"/>
              </a:rPr>
              <a:t> 론칭</a:t>
            </a:r>
            <a:endParaRPr lang="en-US" sz="1100" spc="-28" dirty="0">
              <a:solidFill>
                <a:srgbClr val="4E4F50"/>
              </a:solidFill>
              <a:latin typeface="나눔스퀘어 네오 Regular" panose="00000500000000000000" pitchFamily="2" charset="-127"/>
              <a:ea typeface="나눔스퀘어 네오 Regular" panose="00000500000000000000" pitchFamily="2" charset="-127"/>
              <a:cs typeface="Source Han Sans KR Normal"/>
              <a:sym typeface="Source Han Sans KR Normal"/>
            </a:endParaRPr>
          </a:p>
        </p:txBody>
      </p:sp>
    </p:spTree>
    <p:extLst>
      <p:ext uri="{BB962C8B-B14F-4D97-AF65-F5344CB8AC3E}">
        <p14:creationId xmlns:p14="http://schemas.microsoft.com/office/powerpoint/2010/main" val="2478082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>
            <a:extLst>
              <a:ext uri="{FF2B5EF4-FFF2-40B4-BE49-F238E27FC236}">
                <a16:creationId xmlns:a16="http://schemas.microsoft.com/office/drawing/2014/main" id="{D10667AA-CE69-760D-B80E-E35652F5DAE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ko-KR" altLang="en-US" dirty="0"/>
              <a:t>뱅가드랩은 성공적인 서비스에 필요한 요소기술과 다양한 프로젝트 경험 및 노하우를 겸비한 인원을 중심으로 영역별 최고의 전문성을 갖춘 조직으로 구성되어 있습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8A5DC35A-50CA-8D0E-EF7A-11F38DA586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432000"/>
            <a:ext cx="1827213" cy="257369"/>
          </a:xfrm>
        </p:spPr>
        <p:txBody>
          <a:bodyPr/>
          <a:lstStyle/>
          <a:p>
            <a:r>
              <a:rPr lang="en-US" altLang="ko-KR" dirty="0"/>
              <a:t>ORGANIZATION</a:t>
            </a:r>
            <a:endParaRPr lang="ko-KR" altLang="en-US" dirty="0"/>
          </a:p>
        </p:txBody>
      </p:sp>
      <p:grpSp>
        <p:nvGrpSpPr>
          <p:cNvPr id="90" name="그룹 89">
            <a:extLst>
              <a:ext uri="{FF2B5EF4-FFF2-40B4-BE49-F238E27FC236}">
                <a16:creationId xmlns:a16="http://schemas.microsoft.com/office/drawing/2014/main" id="{DB07B49B-1A64-C21E-9137-0E6611CD2D88}"/>
              </a:ext>
            </a:extLst>
          </p:cNvPr>
          <p:cNvGrpSpPr/>
          <p:nvPr/>
        </p:nvGrpSpPr>
        <p:grpSpPr>
          <a:xfrm>
            <a:off x="2240366" y="2696705"/>
            <a:ext cx="5435034" cy="801853"/>
            <a:chOff x="2235883" y="2586747"/>
            <a:chExt cx="5435034" cy="801853"/>
          </a:xfrm>
        </p:grpSpPr>
        <p:sp>
          <p:nvSpPr>
            <p:cNvPr id="48" name="AutoShape 55">
              <a:extLst>
                <a:ext uri="{FF2B5EF4-FFF2-40B4-BE49-F238E27FC236}">
                  <a16:creationId xmlns:a16="http://schemas.microsoft.com/office/drawing/2014/main" id="{5DB6B027-3734-80E3-437E-096F9219ACB1}"/>
                </a:ext>
              </a:extLst>
            </p:cNvPr>
            <p:cNvSpPr/>
            <p:nvPr/>
          </p:nvSpPr>
          <p:spPr>
            <a:xfrm>
              <a:off x="3231713" y="2586747"/>
              <a:ext cx="0" cy="360000"/>
            </a:xfrm>
            <a:prstGeom prst="line">
              <a:avLst/>
            </a:prstGeom>
            <a:ln w="28575" cap="flat">
              <a:solidFill>
                <a:srgbClr val="0C233C"/>
              </a:solidFill>
              <a:prstDash val="solid"/>
              <a:headEnd type="none" w="sm" len="sm"/>
              <a:tailEnd type="none" w="lg" len="lg"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49" name="AutoShape 56">
              <a:extLst>
                <a:ext uri="{FF2B5EF4-FFF2-40B4-BE49-F238E27FC236}">
                  <a16:creationId xmlns:a16="http://schemas.microsoft.com/office/drawing/2014/main" id="{77915433-FF65-A4C8-20CA-506A873940C3}"/>
                </a:ext>
              </a:extLst>
            </p:cNvPr>
            <p:cNvSpPr/>
            <p:nvPr/>
          </p:nvSpPr>
          <p:spPr>
            <a:xfrm flipV="1">
              <a:off x="3231712" y="2595691"/>
              <a:ext cx="3443374" cy="0"/>
            </a:xfrm>
            <a:prstGeom prst="line">
              <a:avLst/>
            </a:prstGeom>
            <a:ln w="28575" cap="flat">
              <a:solidFill>
                <a:schemeClr val="tx1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9" name="AutoShape 57">
              <a:extLst>
                <a:ext uri="{FF2B5EF4-FFF2-40B4-BE49-F238E27FC236}">
                  <a16:creationId xmlns:a16="http://schemas.microsoft.com/office/drawing/2014/main" id="{D79948D3-B961-458D-43BC-C26242943353}"/>
                </a:ext>
              </a:extLst>
            </p:cNvPr>
            <p:cNvSpPr/>
            <p:nvPr/>
          </p:nvSpPr>
          <p:spPr>
            <a:xfrm>
              <a:off x="6675086" y="2586747"/>
              <a:ext cx="0" cy="360000"/>
            </a:xfrm>
            <a:prstGeom prst="line">
              <a:avLst/>
            </a:prstGeom>
            <a:ln w="28575" cap="flat">
              <a:solidFill>
                <a:srgbClr val="0C233C"/>
              </a:solidFill>
              <a:prstDash val="solid"/>
              <a:headEnd type="none" w="sm" len="sm"/>
              <a:tailEnd type="none" w="lg" len="lg"/>
            </a:ln>
          </p:spPr>
          <p:txBody>
            <a:bodyPr/>
            <a:lstStyle/>
            <a:p>
              <a:endParaRPr lang="ko-KR" altLang="en-US"/>
            </a:p>
          </p:txBody>
        </p:sp>
        <p:grpSp>
          <p:nvGrpSpPr>
            <p:cNvPr id="62" name="그룹 61">
              <a:extLst>
                <a:ext uri="{FF2B5EF4-FFF2-40B4-BE49-F238E27FC236}">
                  <a16:creationId xmlns:a16="http://schemas.microsoft.com/office/drawing/2014/main" id="{6393FA50-718A-2623-AE89-D5D261D577C5}"/>
                </a:ext>
              </a:extLst>
            </p:cNvPr>
            <p:cNvGrpSpPr/>
            <p:nvPr/>
          </p:nvGrpSpPr>
          <p:grpSpPr>
            <a:xfrm>
              <a:off x="2235883" y="2931400"/>
              <a:ext cx="1991661" cy="457200"/>
              <a:chOff x="2794785" y="4150338"/>
              <a:chExt cx="1991661" cy="457200"/>
            </a:xfrm>
          </p:grpSpPr>
          <p:grpSp>
            <p:nvGrpSpPr>
              <p:cNvPr id="82" name="그룹 81">
                <a:extLst>
                  <a:ext uri="{FF2B5EF4-FFF2-40B4-BE49-F238E27FC236}">
                    <a16:creationId xmlns:a16="http://schemas.microsoft.com/office/drawing/2014/main" id="{FF6C5CD2-CE56-C180-A1D1-592F7B0773E5}"/>
                  </a:ext>
                </a:extLst>
              </p:cNvPr>
              <p:cNvGrpSpPr/>
              <p:nvPr/>
            </p:nvGrpSpPr>
            <p:grpSpPr>
              <a:xfrm>
                <a:off x="2794785" y="4150338"/>
                <a:ext cx="1991661" cy="457200"/>
                <a:chOff x="2888684" y="4150338"/>
                <a:chExt cx="1810601" cy="457200"/>
              </a:xfrm>
            </p:grpSpPr>
            <p:sp>
              <p:nvSpPr>
                <p:cNvPr id="84" name="Freeform 19">
                  <a:extLst>
                    <a:ext uri="{FF2B5EF4-FFF2-40B4-BE49-F238E27FC236}">
                      <a16:creationId xmlns:a16="http://schemas.microsoft.com/office/drawing/2014/main" id="{224C7363-0782-5E50-8DA7-62661B78091D}"/>
                    </a:ext>
                  </a:extLst>
                </p:cNvPr>
                <p:cNvSpPr/>
                <p:nvPr/>
              </p:nvSpPr>
              <p:spPr>
                <a:xfrm>
                  <a:off x="2888684" y="4150338"/>
                  <a:ext cx="1810601" cy="4572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91250" h="1563370">
                      <a:moveTo>
                        <a:pt x="0" y="0"/>
                      </a:moveTo>
                      <a:lnTo>
                        <a:pt x="6191250" y="0"/>
                      </a:lnTo>
                      <a:lnTo>
                        <a:pt x="6191250" y="1563370"/>
                      </a:lnTo>
                      <a:lnTo>
                        <a:pt x="0" y="1563370"/>
                      </a:lnTo>
                      <a:close/>
                    </a:path>
                  </a:pathLst>
                </a:custGeom>
                <a:solidFill>
                  <a:srgbClr val="E3E4E0"/>
                </a:solidFill>
              </p:spPr>
              <p:txBody>
                <a:bodyPr/>
                <a:lstStyle/>
                <a:p>
                  <a:endParaRPr lang="ko-KR" altLang="en-US"/>
                </a:p>
              </p:txBody>
            </p:sp>
            <p:sp>
              <p:nvSpPr>
                <p:cNvPr id="85" name="TextBox 74">
                  <a:extLst>
                    <a:ext uri="{FF2B5EF4-FFF2-40B4-BE49-F238E27FC236}">
                      <a16:creationId xmlns:a16="http://schemas.microsoft.com/office/drawing/2014/main" id="{0CCD75A0-EBB8-B300-271D-594F32B55163}"/>
                    </a:ext>
                  </a:extLst>
                </p:cNvPr>
                <p:cNvSpPr txBox="1"/>
                <p:nvPr/>
              </p:nvSpPr>
              <p:spPr>
                <a:xfrm>
                  <a:off x="3240948" y="4251050"/>
                  <a:ext cx="1106072" cy="255776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ctr">
                    <a:lnSpc>
                      <a:spcPts val="2123"/>
                    </a:lnSpc>
                    <a:spcBef>
                      <a:spcPct val="0"/>
                    </a:spcBef>
                  </a:pPr>
                  <a:r>
                    <a:rPr lang="ko-KR" altLang="en-US" sz="1516" dirty="0">
                      <a:solidFill>
                        <a:srgbClr val="000000"/>
                      </a:solidFill>
                      <a:latin typeface="나눔스퀘어 네오 Regular" panose="00000500000000000000" pitchFamily="2" charset="-127"/>
                      <a:ea typeface="나눔스퀘어 네오 Regular" panose="00000500000000000000" pitchFamily="2" charset="-127"/>
                      <a:cs typeface="경기 바탕"/>
                      <a:sym typeface="경기 바탕"/>
                    </a:rPr>
                    <a:t>경영관리본부</a:t>
                  </a:r>
                  <a:r>
                    <a:rPr lang="en-US" altLang="ko-KR" sz="1516" dirty="0">
                      <a:solidFill>
                        <a:srgbClr val="000000"/>
                      </a:solidFill>
                      <a:latin typeface="나눔스퀘어 네오 Regular" panose="00000500000000000000" pitchFamily="2" charset="-127"/>
                      <a:ea typeface="나눔스퀘어 네오 Regular" panose="00000500000000000000" pitchFamily="2" charset="-127"/>
                      <a:cs typeface="경기 바탕"/>
                      <a:sym typeface="경기 바탕"/>
                    </a:rPr>
                    <a:t>  </a:t>
                  </a:r>
                </a:p>
              </p:txBody>
            </p:sp>
          </p:grpSp>
          <p:sp>
            <p:nvSpPr>
              <p:cNvPr id="83" name="Freeform 20">
                <a:extLst>
                  <a:ext uri="{FF2B5EF4-FFF2-40B4-BE49-F238E27FC236}">
                    <a16:creationId xmlns:a16="http://schemas.microsoft.com/office/drawing/2014/main" id="{FCC7BF88-97B1-CD79-6321-575D0370A0DC}"/>
                  </a:ext>
                </a:extLst>
              </p:cNvPr>
              <p:cNvSpPr/>
              <p:nvPr/>
            </p:nvSpPr>
            <p:spPr>
              <a:xfrm>
                <a:off x="4730270" y="4150338"/>
                <a:ext cx="56176" cy="457200"/>
              </a:xfrm>
              <a:custGeom>
                <a:avLst/>
                <a:gdLst/>
                <a:ahLst/>
                <a:cxnLst/>
                <a:rect l="l" t="t" r="r" b="b"/>
                <a:pathLst>
                  <a:path w="158750" h="1563370">
                    <a:moveTo>
                      <a:pt x="0" y="0"/>
                    </a:moveTo>
                    <a:lnTo>
                      <a:pt x="158750" y="0"/>
                    </a:lnTo>
                    <a:lnTo>
                      <a:pt x="158750" y="1563370"/>
                    </a:lnTo>
                    <a:lnTo>
                      <a:pt x="0" y="1563370"/>
                    </a:lnTo>
                    <a:close/>
                  </a:path>
                </a:pathLst>
              </a:custGeom>
              <a:solidFill>
                <a:schemeClr val="tx1"/>
              </a:solidFill>
            </p:spPr>
            <p:txBody>
              <a:bodyPr/>
              <a:lstStyle/>
              <a:p>
                <a:endParaRPr lang="ko-KR" altLang="en-US"/>
              </a:p>
            </p:txBody>
          </p:sp>
        </p:grpSp>
        <p:grpSp>
          <p:nvGrpSpPr>
            <p:cNvPr id="64" name="그룹 63">
              <a:extLst>
                <a:ext uri="{FF2B5EF4-FFF2-40B4-BE49-F238E27FC236}">
                  <a16:creationId xmlns:a16="http://schemas.microsoft.com/office/drawing/2014/main" id="{87F8D880-5E69-BF8D-F6A9-A8335FEEA83F}"/>
                </a:ext>
              </a:extLst>
            </p:cNvPr>
            <p:cNvGrpSpPr/>
            <p:nvPr/>
          </p:nvGrpSpPr>
          <p:grpSpPr>
            <a:xfrm>
              <a:off x="5679256" y="2931400"/>
              <a:ext cx="1991661" cy="457200"/>
              <a:chOff x="5034921" y="4150338"/>
              <a:chExt cx="1991661" cy="457200"/>
            </a:xfrm>
          </p:grpSpPr>
          <p:sp>
            <p:nvSpPr>
              <p:cNvPr id="65" name="Freeform 24">
                <a:extLst>
                  <a:ext uri="{FF2B5EF4-FFF2-40B4-BE49-F238E27FC236}">
                    <a16:creationId xmlns:a16="http://schemas.microsoft.com/office/drawing/2014/main" id="{7180B1CB-5A9F-69F2-1A45-303B5B1859CE}"/>
                  </a:ext>
                </a:extLst>
              </p:cNvPr>
              <p:cNvSpPr/>
              <p:nvPr/>
            </p:nvSpPr>
            <p:spPr>
              <a:xfrm>
                <a:off x="6881775" y="4150338"/>
                <a:ext cx="56176" cy="457200"/>
              </a:xfrm>
              <a:custGeom>
                <a:avLst/>
                <a:gdLst/>
                <a:ahLst/>
                <a:cxnLst/>
                <a:rect l="l" t="t" r="r" b="b"/>
                <a:pathLst>
                  <a:path w="158750" h="1563370">
                    <a:moveTo>
                      <a:pt x="0" y="0"/>
                    </a:moveTo>
                    <a:lnTo>
                      <a:pt x="158750" y="0"/>
                    </a:lnTo>
                    <a:lnTo>
                      <a:pt x="158750" y="1563370"/>
                    </a:lnTo>
                    <a:lnTo>
                      <a:pt x="0" y="1563370"/>
                    </a:lnTo>
                    <a:close/>
                  </a:path>
                </a:pathLst>
              </a:custGeom>
              <a:solidFill>
                <a:srgbClr val="0C233C"/>
              </a:solidFill>
            </p:spPr>
            <p:txBody>
              <a:bodyPr/>
              <a:lstStyle/>
              <a:p>
                <a:endParaRPr lang="ko-KR" altLang="en-US"/>
              </a:p>
            </p:txBody>
          </p:sp>
          <p:grpSp>
            <p:nvGrpSpPr>
              <p:cNvPr id="66" name="그룹 65">
                <a:extLst>
                  <a:ext uri="{FF2B5EF4-FFF2-40B4-BE49-F238E27FC236}">
                    <a16:creationId xmlns:a16="http://schemas.microsoft.com/office/drawing/2014/main" id="{6A603C2B-FA69-3F16-BE9E-BE37E00EC2A3}"/>
                  </a:ext>
                </a:extLst>
              </p:cNvPr>
              <p:cNvGrpSpPr/>
              <p:nvPr/>
            </p:nvGrpSpPr>
            <p:grpSpPr>
              <a:xfrm>
                <a:off x="5034921" y="4150338"/>
                <a:ext cx="1991661" cy="457200"/>
                <a:chOff x="5148489" y="4150338"/>
                <a:chExt cx="1810601" cy="457200"/>
              </a:xfrm>
            </p:grpSpPr>
            <p:sp>
              <p:nvSpPr>
                <p:cNvPr id="69" name="Freeform 23">
                  <a:extLst>
                    <a:ext uri="{FF2B5EF4-FFF2-40B4-BE49-F238E27FC236}">
                      <a16:creationId xmlns:a16="http://schemas.microsoft.com/office/drawing/2014/main" id="{E487A3B9-E2E6-F3F7-FE9D-6986F28A7673}"/>
                    </a:ext>
                  </a:extLst>
                </p:cNvPr>
                <p:cNvSpPr/>
                <p:nvPr/>
              </p:nvSpPr>
              <p:spPr>
                <a:xfrm>
                  <a:off x="5148489" y="4150338"/>
                  <a:ext cx="1810601" cy="4572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91250" h="1563370">
                      <a:moveTo>
                        <a:pt x="0" y="0"/>
                      </a:moveTo>
                      <a:lnTo>
                        <a:pt x="6191250" y="0"/>
                      </a:lnTo>
                      <a:lnTo>
                        <a:pt x="6191250" y="1563370"/>
                      </a:lnTo>
                      <a:lnTo>
                        <a:pt x="0" y="1563370"/>
                      </a:lnTo>
                      <a:close/>
                    </a:path>
                  </a:pathLst>
                </a:custGeom>
                <a:solidFill>
                  <a:srgbClr val="E3E4E0"/>
                </a:solidFill>
              </p:spPr>
              <p:txBody>
                <a:bodyPr/>
                <a:lstStyle/>
                <a:p>
                  <a:endParaRPr lang="ko-KR" altLang="en-US"/>
                </a:p>
              </p:txBody>
            </p:sp>
            <p:sp>
              <p:nvSpPr>
                <p:cNvPr id="77" name="TextBox 75">
                  <a:extLst>
                    <a:ext uri="{FF2B5EF4-FFF2-40B4-BE49-F238E27FC236}">
                      <a16:creationId xmlns:a16="http://schemas.microsoft.com/office/drawing/2014/main" id="{051E43CE-CC63-260B-6E10-650E15B7F0B0}"/>
                    </a:ext>
                  </a:extLst>
                </p:cNvPr>
                <p:cNvSpPr txBox="1"/>
                <p:nvPr/>
              </p:nvSpPr>
              <p:spPr>
                <a:xfrm>
                  <a:off x="5156909" y="4251050"/>
                  <a:ext cx="1793761" cy="255776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ctr">
                    <a:lnSpc>
                      <a:spcPts val="2123"/>
                    </a:lnSpc>
                    <a:spcBef>
                      <a:spcPct val="0"/>
                    </a:spcBef>
                  </a:pPr>
                  <a:r>
                    <a:rPr lang="ko-KR" altLang="en-US" sz="1516" dirty="0">
                      <a:solidFill>
                        <a:srgbClr val="000000"/>
                      </a:solidFill>
                      <a:latin typeface="나눔스퀘어 네오 Regular" panose="00000500000000000000" pitchFamily="2" charset="-127"/>
                      <a:ea typeface="나눔스퀘어 네오 Regular" panose="00000500000000000000" pitchFamily="2" charset="-127"/>
                      <a:cs typeface="경기 바탕"/>
                      <a:sym typeface="경기 바탕"/>
                    </a:rPr>
                    <a:t>자문위원</a:t>
                  </a:r>
                  <a:endParaRPr lang="en-US" altLang="ko-KR" sz="1516" dirty="0">
                    <a:solidFill>
                      <a:srgbClr val="000000"/>
                    </a:solidFill>
                    <a:latin typeface="나눔스퀘어 네오 Regular" panose="00000500000000000000" pitchFamily="2" charset="-127"/>
                    <a:ea typeface="나눔스퀘어 네오 Regular" panose="00000500000000000000" pitchFamily="2" charset="-127"/>
                    <a:cs typeface="경기 바탕"/>
                    <a:sym typeface="경기 바탕"/>
                  </a:endParaRPr>
                </a:p>
              </p:txBody>
            </p:sp>
          </p:grpSp>
          <p:sp>
            <p:nvSpPr>
              <p:cNvPr id="67" name="Freeform 28">
                <a:extLst>
                  <a:ext uri="{FF2B5EF4-FFF2-40B4-BE49-F238E27FC236}">
                    <a16:creationId xmlns:a16="http://schemas.microsoft.com/office/drawing/2014/main" id="{78AB079E-5487-301E-25E7-C0B4CA3A2E85}"/>
                  </a:ext>
                </a:extLst>
              </p:cNvPr>
              <p:cNvSpPr/>
              <p:nvPr/>
            </p:nvSpPr>
            <p:spPr>
              <a:xfrm>
                <a:off x="6970406" y="4150338"/>
                <a:ext cx="56176" cy="457200"/>
              </a:xfrm>
              <a:custGeom>
                <a:avLst/>
                <a:gdLst/>
                <a:ahLst/>
                <a:cxnLst/>
                <a:rect l="l" t="t" r="r" b="b"/>
                <a:pathLst>
                  <a:path w="158750" h="1563370">
                    <a:moveTo>
                      <a:pt x="0" y="0"/>
                    </a:moveTo>
                    <a:lnTo>
                      <a:pt x="158750" y="0"/>
                    </a:lnTo>
                    <a:lnTo>
                      <a:pt x="158750" y="1563370"/>
                    </a:lnTo>
                    <a:lnTo>
                      <a:pt x="0" y="1563370"/>
                    </a:lnTo>
                    <a:close/>
                  </a:path>
                </a:pathLst>
              </a:custGeom>
              <a:solidFill>
                <a:schemeClr val="tx1"/>
              </a:solidFill>
            </p:spPr>
            <p:txBody>
              <a:bodyPr/>
              <a:lstStyle/>
              <a:p>
                <a:endParaRPr lang="ko-KR" altLang="en-US"/>
              </a:p>
            </p:txBody>
          </p:sp>
        </p:grpSp>
      </p:grpSp>
      <p:grpSp>
        <p:nvGrpSpPr>
          <p:cNvPr id="91" name="그룹 90">
            <a:extLst>
              <a:ext uri="{FF2B5EF4-FFF2-40B4-BE49-F238E27FC236}">
                <a16:creationId xmlns:a16="http://schemas.microsoft.com/office/drawing/2014/main" id="{8542BA83-62B1-ED04-78D0-4D386E3C3EFA}"/>
              </a:ext>
            </a:extLst>
          </p:cNvPr>
          <p:cNvGrpSpPr/>
          <p:nvPr/>
        </p:nvGrpSpPr>
        <p:grpSpPr>
          <a:xfrm>
            <a:off x="3924626" y="1771199"/>
            <a:ext cx="2066515" cy="483909"/>
            <a:chOff x="3780002" y="1805381"/>
            <a:chExt cx="2066515" cy="483909"/>
          </a:xfrm>
        </p:grpSpPr>
        <p:grpSp>
          <p:nvGrpSpPr>
            <p:cNvPr id="31" name="그룹 30">
              <a:extLst>
                <a:ext uri="{FF2B5EF4-FFF2-40B4-BE49-F238E27FC236}">
                  <a16:creationId xmlns:a16="http://schemas.microsoft.com/office/drawing/2014/main" id="{35C67DF4-9384-EAF2-7CE9-68B04D5C1D1A}"/>
                </a:ext>
              </a:extLst>
            </p:cNvPr>
            <p:cNvGrpSpPr/>
            <p:nvPr/>
          </p:nvGrpSpPr>
          <p:grpSpPr>
            <a:xfrm>
              <a:off x="3780002" y="1814906"/>
              <a:ext cx="2066515" cy="474384"/>
              <a:chOff x="3902864" y="1814906"/>
              <a:chExt cx="1878650" cy="474384"/>
            </a:xfrm>
          </p:grpSpPr>
          <p:sp>
            <p:nvSpPr>
              <p:cNvPr id="5" name="Freeform 3"/>
              <p:cNvSpPr/>
              <p:nvPr/>
            </p:nvSpPr>
            <p:spPr>
              <a:xfrm>
                <a:off x="3902864" y="1814906"/>
                <a:ext cx="1878650" cy="474384"/>
              </a:xfrm>
              <a:custGeom>
                <a:avLst/>
                <a:gdLst/>
                <a:ahLst/>
                <a:cxnLst/>
                <a:rect l="l" t="t" r="r" b="b"/>
                <a:pathLst>
                  <a:path w="6191250" h="1563370">
                    <a:moveTo>
                      <a:pt x="0" y="0"/>
                    </a:moveTo>
                    <a:lnTo>
                      <a:pt x="6191250" y="0"/>
                    </a:lnTo>
                    <a:lnTo>
                      <a:pt x="6191250" y="1563370"/>
                    </a:lnTo>
                    <a:lnTo>
                      <a:pt x="0" y="1563370"/>
                    </a:lnTo>
                    <a:close/>
                  </a:path>
                </a:pathLst>
              </a:custGeom>
              <a:solidFill>
                <a:srgbClr val="E3E4E0"/>
              </a:solidFill>
            </p:spPr>
            <p:txBody>
              <a:bodyPr/>
              <a:lstStyle/>
              <a:p>
                <a:endParaRPr lang="ko-KR" altLang="en-US" dirty="0"/>
              </a:p>
            </p:txBody>
          </p:sp>
          <p:sp>
            <p:nvSpPr>
              <p:cNvPr id="70" name="TextBox 70"/>
              <p:cNvSpPr txBox="1"/>
              <p:nvPr/>
            </p:nvSpPr>
            <p:spPr>
              <a:xfrm>
                <a:off x="4473499" y="1914685"/>
                <a:ext cx="737381" cy="255776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>
                  <a:lnSpc>
                    <a:spcPts val="2123"/>
                  </a:lnSpc>
                  <a:spcBef>
                    <a:spcPct val="0"/>
                  </a:spcBef>
                </a:pPr>
                <a:r>
                  <a:rPr lang="ko-KR" altLang="en-US" sz="1516" dirty="0">
                    <a:solidFill>
                      <a:srgbClr val="000000"/>
                    </a:solidFill>
                    <a:latin typeface="나눔스퀘어 네오 Regular" panose="00000500000000000000" pitchFamily="2" charset="-127"/>
                    <a:ea typeface="나눔스퀘어 네오 Regular" panose="00000500000000000000" pitchFamily="2" charset="-127"/>
                    <a:cs typeface="경기 바탕"/>
                    <a:sym typeface="경기 바탕"/>
                  </a:rPr>
                  <a:t>대표이사</a:t>
                </a:r>
                <a:endParaRPr lang="en-US" sz="1516" dirty="0">
                  <a:solidFill>
                    <a:srgbClr val="000000"/>
                  </a:solidFill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경기 바탕"/>
                  <a:sym typeface="경기 바탕"/>
                </a:endParaRPr>
              </a:p>
            </p:txBody>
          </p:sp>
        </p:grpSp>
        <p:sp>
          <p:nvSpPr>
            <p:cNvPr id="6" name="Freeform 4"/>
            <p:cNvSpPr/>
            <p:nvPr/>
          </p:nvSpPr>
          <p:spPr>
            <a:xfrm>
              <a:off x="5788230" y="1805381"/>
              <a:ext cx="58287" cy="474384"/>
            </a:xfrm>
            <a:custGeom>
              <a:avLst/>
              <a:gdLst/>
              <a:ahLst/>
              <a:cxnLst/>
              <a:rect l="l" t="t" r="r" b="b"/>
              <a:pathLst>
                <a:path w="158750" h="1563370">
                  <a:moveTo>
                    <a:pt x="0" y="0"/>
                  </a:moveTo>
                  <a:lnTo>
                    <a:pt x="158750" y="0"/>
                  </a:lnTo>
                  <a:lnTo>
                    <a:pt x="158750" y="1563370"/>
                  </a:lnTo>
                  <a:lnTo>
                    <a:pt x="0" y="1563370"/>
                  </a:lnTo>
                  <a:close/>
                </a:path>
              </a:pathLst>
            </a:custGeom>
            <a:solidFill>
              <a:schemeClr val="tx1"/>
            </a:solidFill>
          </p:spPr>
          <p:txBody>
            <a:bodyPr/>
            <a:lstStyle/>
            <a:p>
              <a:endParaRPr lang="ko-KR" altLang="en-US" dirty="0"/>
            </a:p>
          </p:txBody>
        </p:sp>
      </p:grpSp>
      <p:grpSp>
        <p:nvGrpSpPr>
          <p:cNvPr id="45" name="그룹 44">
            <a:extLst>
              <a:ext uri="{FF2B5EF4-FFF2-40B4-BE49-F238E27FC236}">
                <a16:creationId xmlns:a16="http://schemas.microsoft.com/office/drawing/2014/main" id="{84E8CA89-6042-EE4C-C467-49564851F402}"/>
              </a:ext>
            </a:extLst>
          </p:cNvPr>
          <p:cNvGrpSpPr/>
          <p:nvPr/>
        </p:nvGrpSpPr>
        <p:grpSpPr>
          <a:xfrm>
            <a:off x="639253" y="3940155"/>
            <a:ext cx="8637261" cy="801853"/>
            <a:chOff x="639251" y="3850510"/>
            <a:chExt cx="8637261" cy="801853"/>
          </a:xfrm>
        </p:grpSpPr>
        <p:sp>
          <p:nvSpPr>
            <p:cNvPr id="54" name="AutoShape 54"/>
            <p:cNvSpPr/>
            <p:nvPr/>
          </p:nvSpPr>
          <p:spPr>
            <a:xfrm>
              <a:off x="1635081" y="3850510"/>
              <a:ext cx="0" cy="360000"/>
            </a:xfrm>
            <a:prstGeom prst="line">
              <a:avLst/>
            </a:prstGeom>
            <a:ln w="28575" cap="flat">
              <a:solidFill>
                <a:srgbClr val="0C233C"/>
              </a:solidFill>
              <a:prstDash val="solid"/>
              <a:headEnd type="none" w="sm" len="sm"/>
              <a:tailEnd type="none" w="lg" len="lg"/>
            </a:ln>
          </p:spPr>
          <p:txBody>
            <a:bodyPr/>
            <a:lstStyle/>
            <a:p>
              <a:endParaRPr lang="ko-KR" altLang="en-US" dirty="0"/>
            </a:p>
          </p:txBody>
        </p:sp>
        <p:sp>
          <p:nvSpPr>
            <p:cNvPr id="55" name="AutoShape 55"/>
            <p:cNvSpPr/>
            <p:nvPr/>
          </p:nvSpPr>
          <p:spPr>
            <a:xfrm>
              <a:off x="3850281" y="3850510"/>
              <a:ext cx="0" cy="360000"/>
            </a:xfrm>
            <a:prstGeom prst="line">
              <a:avLst/>
            </a:prstGeom>
            <a:ln w="28575" cap="flat">
              <a:solidFill>
                <a:schemeClr val="tx1"/>
              </a:solidFill>
              <a:prstDash val="solid"/>
              <a:headEnd type="none" w="sm" len="sm"/>
              <a:tailEnd type="none" w="lg" len="lg"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6" name="AutoShape 56"/>
            <p:cNvSpPr/>
            <p:nvPr/>
          </p:nvSpPr>
          <p:spPr>
            <a:xfrm flipV="1">
              <a:off x="1635081" y="3859454"/>
              <a:ext cx="6645599" cy="0"/>
            </a:xfrm>
            <a:prstGeom prst="line">
              <a:avLst/>
            </a:prstGeom>
            <a:ln w="28575" cap="flat">
              <a:solidFill>
                <a:schemeClr val="tx1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7" name="AutoShape 57"/>
            <p:cNvSpPr/>
            <p:nvPr/>
          </p:nvSpPr>
          <p:spPr>
            <a:xfrm>
              <a:off x="6065481" y="3850510"/>
              <a:ext cx="0" cy="360000"/>
            </a:xfrm>
            <a:prstGeom prst="line">
              <a:avLst/>
            </a:prstGeom>
            <a:ln w="28575" cap="flat">
              <a:solidFill>
                <a:schemeClr val="tx1"/>
              </a:solidFill>
              <a:prstDash val="solid"/>
              <a:headEnd type="none" w="sm" len="sm"/>
              <a:tailEnd type="none" w="lg" len="lg"/>
            </a:ln>
          </p:spPr>
          <p:txBody>
            <a:bodyPr/>
            <a:lstStyle/>
            <a:p>
              <a:endParaRPr lang="ko-KR" altLang="en-US"/>
            </a:p>
          </p:txBody>
        </p:sp>
        <p:sp>
          <p:nvSpPr>
            <p:cNvPr id="58" name="AutoShape 58"/>
            <p:cNvSpPr/>
            <p:nvPr/>
          </p:nvSpPr>
          <p:spPr>
            <a:xfrm flipH="1">
              <a:off x="8280681" y="3850510"/>
              <a:ext cx="0" cy="360000"/>
            </a:xfrm>
            <a:prstGeom prst="line">
              <a:avLst/>
            </a:prstGeom>
            <a:ln w="28575" cap="flat">
              <a:solidFill>
                <a:srgbClr val="0C233C"/>
              </a:solidFill>
              <a:prstDash val="solid"/>
              <a:headEnd type="none" w="sm" len="sm"/>
              <a:tailEnd type="none" w="lg" len="lg"/>
            </a:ln>
          </p:spPr>
          <p:txBody>
            <a:bodyPr/>
            <a:lstStyle/>
            <a:p>
              <a:endParaRPr lang="ko-KR" altLang="en-US"/>
            </a:p>
          </p:txBody>
        </p:sp>
        <p:grpSp>
          <p:nvGrpSpPr>
            <p:cNvPr id="39" name="그룹 38">
              <a:extLst>
                <a:ext uri="{FF2B5EF4-FFF2-40B4-BE49-F238E27FC236}">
                  <a16:creationId xmlns:a16="http://schemas.microsoft.com/office/drawing/2014/main" id="{6E9417F7-EBC9-FBDA-D196-DA16169C158F}"/>
                </a:ext>
              </a:extLst>
            </p:cNvPr>
            <p:cNvGrpSpPr/>
            <p:nvPr/>
          </p:nvGrpSpPr>
          <p:grpSpPr>
            <a:xfrm>
              <a:off x="639251" y="4195163"/>
              <a:ext cx="1991661" cy="457200"/>
              <a:chOff x="639251" y="4150338"/>
              <a:chExt cx="1991661" cy="457200"/>
            </a:xfrm>
          </p:grpSpPr>
          <p:grpSp>
            <p:nvGrpSpPr>
              <p:cNvPr id="34" name="그룹 33">
                <a:extLst>
                  <a:ext uri="{FF2B5EF4-FFF2-40B4-BE49-F238E27FC236}">
                    <a16:creationId xmlns:a16="http://schemas.microsoft.com/office/drawing/2014/main" id="{4DEDDBE0-ED63-9AE6-7051-CB70A0B302D6}"/>
                  </a:ext>
                </a:extLst>
              </p:cNvPr>
              <p:cNvGrpSpPr/>
              <p:nvPr/>
            </p:nvGrpSpPr>
            <p:grpSpPr>
              <a:xfrm>
                <a:off x="639251" y="4150338"/>
                <a:ext cx="1991661" cy="457200"/>
                <a:chOff x="755995" y="4150338"/>
                <a:chExt cx="1810601" cy="457200"/>
              </a:xfrm>
            </p:grpSpPr>
            <p:sp>
              <p:nvSpPr>
                <p:cNvPr id="16" name="Freeform 15"/>
                <p:cNvSpPr/>
                <p:nvPr/>
              </p:nvSpPr>
              <p:spPr>
                <a:xfrm>
                  <a:off x="755995" y="4150338"/>
                  <a:ext cx="1810601" cy="4572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91250" h="1563370">
                      <a:moveTo>
                        <a:pt x="0" y="0"/>
                      </a:moveTo>
                      <a:lnTo>
                        <a:pt x="6191250" y="0"/>
                      </a:lnTo>
                      <a:lnTo>
                        <a:pt x="6191250" y="1563370"/>
                      </a:lnTo>
                      <a:lnTo>
                        <a:pt x="0" y="1563370"/>
                      </a:lnTo>
                      <a:close/>
                    </a:path>
                  </a:pathLst>
                </a:custGeom>
                <a:solidFill>
                  <a:srgbClr val="E3E4E0"/>
                </a:solidFill>
              </p:spPr>
              <p:txBody>
                <a:bodyPr/>
                <a:lstStyle/>
                <a:p>
                  <a:endParaRPr lang="ko-KR" altLang="en-US"/>
                </a:p>
              </p:txBody>
            </p:sp>
            <p:sp>
              <p:nvSpPr>
                <p:cNvPr id="73" name="TextBox 73"/>
                <p:cNvSpPr txBox="1"/>
                <p:nvPr/>
              </p:nvSpPr>
              <p:spPr>
                <a:xfrm>
                  <a:off x="1108259" y="4251050"/>
                  <a:ext cx="1106072" cy="255776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ctr">
                    <a:lnSpc>
                      <a:spcPts val="2123"/>
                    </a:lnSpc>
                    <a:spcBef>
                      <a:spcPct val="0"/>
                    </a:spcBef>
                  </a:pPr>
                  <a:r>
                    <a:rPr lang="ko-KR" altLang="en-US" sz="1516" dirty="0">
                      <a:solidFill>
                        <a:srgbClr val="000000"/>
                      </a:solidFill>
                      <a:latin typeface="나눔스퀘어 네오 Regular" panose="00000500000000000000" pitchFamily="2" charset="-127"/>
                      <a:ea typeface="나눔스퀘어 네오 Regular" panose="00000500000000000000" pitchFamily="2" charset="-127"/>
                      <a:cs typeface="경기 바탕"/>
                      <a:sym typeface="경기 바탕"/>
                    </a:rPr>
                    <a:t>금융사업본부</a:t>
                  </a:r>
                  <a:endParaRPr lang="en-US" sz="1516" dirty="0">
                    <a:solidFill>
                      <a:srgbClr val="000000"/>
                    </a:solidFill>
                    <a:latin typeface="나눔스퀘어 네오 Regular" panose="00000500000000000000" pitchFamily="2" charset="-127"/>
                    <a:ea typeface="나눔스퀘어 네오 Regular" panose="00000500000000000000" pitchFamily="2" charset="-127"/>
                    <a:cs typeface="경기 바탕"/>
                    <a:sym typeface="경기 바탕"/>
                  </a:endParaRPr>
                </a:p>
              </p:txBody>
            </p:sp>
          </p:grpSp>
          <p:sp>
            <p:nvSpPr>
              <p:cNvPr id="17" name="Freeform 16"/>
              <p:cNvSpPr/>
              <p:nvPr/>
            </p:nvSpPr>
            <p:spPr>
              <a:xfrm>
                <a:off x="2574736" y="4150338"/>
                <a:ext cx="56176" cy="457200"/>
              </a:xfrm>
              <a:custGeom>
                <a:avLst/>
                <a:gdLst/>
                <a:ahLst/>
                <a:cxnLst/>
                <a:rect l="l" t="t" r="r" b="b"/>
                <a:pathLst>
                  <a:path w="158750" h="1563370">
                    <a:moveTo>
                      <a:pt x="0" y="0"/>
                    </a:moveTo>
                    <a:lnTo>
                      <a:pt x="158750" y="0"/>
                    </a:lnTo>
                    <a:lnTo>
                      <a:pt x="158750" y="1563370"/>
                    </a:lnTo>
                    <a:lnTo>
                      <a:pt x="0" y="1563370"/>
                    </a:lnTo>
                    <a:close/>
                  </a:path>
                </a:pathLst>
              </a:custGeom>
              <a:solidFill>
                <a:schemeClr val="tx1"/>
              </a:solidFill>
            </p:spPr>
            <p:txBody>
              <a:bodyPr/>
              <a:lstStyle/>
              <a:p>
                <a:endParaRPr lang="ko-KR" altLang="en-US"/>
              </a:p>
            </p:txBody>
          </p:sp>
        </p:grp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276F3B68-E544-5573-6449-39A7F80E8132}"/>
                </a:ext>
              </a:extLst>
            </p:cNvPr>
            <p:cNvGrpSpPr/>
            <p:nvPr/>
          </p:nvGrpSpPr>
          <p:grpSpPr>
            <a:xfrm>
              <a:off x="2854451" y="4195163"/>
              <a:ext cx="1991661" cy="457200"/>
              <a:chOff x="2794785" y="4150338"/>
              <a:chExt cx="1991661" cy="457200"/>
            </a:xfrm>
          </p:grpSpPr>
          <p:grpSp>
            <p:nvGrpSpPr>
              <p:cNvPr id="35" name="그룹 34">
                <a:extLst>
                  <a:ext uri="{FF2B5EF4-FFF2-40B4-BE49-F238E27FC236}">
                    <a16:creationId xmlns:a16="http://schemas.microsoft.com/office/drawing/2014/main" id="{3F1CA982-8F49-5EE2-BE36-89C8D4EFDFE5}"/>
                  </a:ext>
                </a:extLst>
              </p:cNvPr>
              <p:cNvGrpSpPr/>
              <p:nvPr/>
            </p:nvGrpSpPr>
            <p:grpSpPr>
              <a:xfrm>
                <a:off x="2794785" y="4150338"/>
                <a:ext cx="1991661" cy="457200"/>
                <a:chOff x="2888684" y="4150338"/>
                <a:chExt cx="1810601" cy="457200"/>
              </a:xfrm>
            </p:grpSpPr>
            <p:sp>
              <p:nvSpPr>
                <p:cNvPr id="20" name="Freeform 19"/>
                <p:cNvSpPr/>
                <p:nvPr/>
              </p:nvSpPr>
              <p:spPr>
                <a:xfrm>
                  <a:off x="2888684" y="4150338"/>
                  <a:ext cx="1810601" cy="4572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91250" h="1563370">
                      <a:moveTo>
                        <a:pt x="0" y="0"/>
                      </a:moveTo>
                      <a:lnTo>
                        <a:pt x="6191250" y="0"/>
                      </a:lnTo>
                      <a:lnTo>
                        <a:pt x="6191250" y="1563370"/>
                      </a:lnTo>
                      <a:lnTo>
                        <a:pt x="0" y="1563370"/>
                      </a:lnTo>
                      <a:close/>
                    </a:path>
                  </a:pathLst>
                </a:custGeom>
                <a:solidFill>
                  <a:srgbClr val="E3E4E0"/>
                </a:solidFill>
              </p:spPr>
              <p:txBody>
                <a:bodyPr/>
                <a:lstStyle/>
                <a:p>
                  <a:endParaRPr lang="ko-KR" altLang="en-US"/>
                </a:p>
              </p:txBody>
            </p:sp>
            <p:sp>
              <p:nvSpPr>
                <p:cNvPr id="74" name="TextBox 74"/>
                <p:cNvSpPr txBox="1"/>
                <p:nvPr/>
              </p:nvSpPr>
              <p:spPr>
                <a:xfrm>
                  <a:off x="3240948" y="4251050"/>
                  <a:ext cx="1106072" cy="255776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ctr">
                    <a:lnSpc>
                      <a:spcPts val="2123"/>
                    </a:lnSpc>
                    <a:spcBef>
                      <a:spcPct val="0"/>
                    </a:spcBef>
                  </a:pPr>
                  <a:r>
                    <a:rPr lang="ko-KR" altLang="en-US" sz="1516" dirty="0">
                      <a:solidFill>
                        <a:srgbClr val="000000"/>
                      </a:solidFill>
                      <a:latin typeface="나눔스퀘어 네오 Regular" panose="00000500000000000000" pitchFamily="2" charset="-127"/>
                      <a:ea typeface="나눔스퀘어 네오 Regular" panose="00000500000000000000" pitchFamily="2" charset="-127"/>
                      <a:cs typeface="경기 바탕"/>
                      <a:sym typeface="경기 바탕"/>
                    </a:rPr>
                    <a:t>공공사업본부</a:t>
                  </a:r>
                  <a:endParaRPr lang="en-US" sz="1516" dirty="0">
                    <a:solidFill>
                      <a:srgbClr val="000000"/>
                    </a:solidFill>
                    <a:latin typeface="나눔스퀘어 네오 Regular" panose="00000500000000000000" pitchFamily="2" charset="-127"/>
                    <a:ea typeface="나눔스퀘어 네오 Regular" panose="00000500000000000000" pitchFamily="2" charset="-127"/>
                    <a:cs typeface="경기 바탕"/>
                    <a:sym typeface="경기 바탕"/>
                  </a:endParaRPr>
                </a:p>
              </p:txBody>
            </p:sp>
          </p:grpSp>
          <p:sp>
            <p:nvSpPr>
              <p:cNvPr id="21" name="Freeform 20"/>
              <p:cNvSpPr/>
              <p:nvPr/>
            </p:nvSpPr>
            <p:spPr>
              <a:xfrm>
                <a:off x="4730270" y="4150338"/>
                <a:ext cx="56176" cy="457200"/>
              </a:xfrm>
              <a:custGeom>
                <a:avLst/>
                <a:gdLst/>
                <a:ahLst/>
                <a:cxnLst/>
                <a:rect l="l" t="t" r="r" b="b"/>
                <a:pathLst>
                  <a:path w="158750" h="1563370">
                    <a:moveTo>
                      <a:pt x="0" y="0"/>
                    </a:moveTo>
                    <a:lnTo>
                      <a:pt x="158750" y="0"/>
                    </a:lnTo>
                    <a:lnTo>
                      <a:pt x="158750" y="1563370"/>
                    </a:lnTo>
                    <a:lnTo>
                      <a:pt x="0" y="1563370"/>
                    </a:lnTo>
                    <a:close/>
                  </a:path>
                </a:pathLst>
              </a:custGeom>
              <a:solidFill>
                <a:schemeClr val="tx1"/>
              </a:solidFill>
            </p:spPr>
            <p:txBody>
              <a:bodyPr/>
              <a:lstStyle/>
              <a:p>
                <a:endParaRPr lang="ko-KR" altLang="en-US"/>
              </a:p>
            </p:txBody>
          </p:sp>
        </p:grpSp>
        <p:grpSp>
          <p:nvGrpSpPr>
            <p:cNvPr id="42" name="그룹 41">
              <a:extLst>
                <a:ext uri="{FF2B5EF4-FFF2-40B4-BE49-F238E27FC236}">
                  <a16:creationId xmlns:a16="http://schemas.microsoft.com/office/drawing/2014/main" id="{FB3BB9E3-690D-6B93-0D3E-0A8671E93C2D}"/>
                </a:ext>
              </a:extLst>
            </p:cNvPr>
            <p:cNvGrpSpPr/>
            <p:nvPr/>
          </p:nvGrpSpPr>
          <p:grpSpPr>
            <a:xfrm>
              <a:off x="7284851" y="4195163"/>
              <a:ext cx="1991661" cy="457200"/>
              <a:chOff x="7213131" y="4150338"/>
              <a:chExt cx="1991661" cy="457200"/>
            </a:xfrm>
          </p:grpSpPr>
          <p:grpSp>
            <p:nvGrpSpPr>
              <p:cNvPr id="37" name="그룹 36">
                <a:extLst>
                  <a:ext uri="{FF2B5EF4-FFF2-40B4-BE49-F238E27FC236}">
                    <a16:creationId xmlns:a16="http://schemas.microsoft.com/office/drawing/2014/main" id="{6749051D-A2ED-D659-235C-0A772B4BA854}"/>
                  </a:ext>
                </a:extLst>
              </p:cNvPr>
              <p:cNvGrpSpPr/>
              <p:nvPr/>
            </p:nvGrpSpPr>
            <p:grpSpPr>
              <a:xfrm>
                <a:off x="7213131" y="4150338"/>
                <a:ext cx="1991661" cy="457200"/>
                <a:chOff x="7307030" y="4150338"/>
                <a:chExt cx="1810601" cy="457200"/>
              </a:xfrm>
            </p:grpSpPr>
            <p:sp>
              <p:nvSpPr>
                <p:cNvPr id="28" name="Freeform 27"/>
                <p:cNvSpPr/>
                <p:nvPr/>
              </p:nvSpPr>
              <p:spPr>
                <a:xfrm>
                  <a:off x="7307030" y="4150338"/>
                  <a:ext cx="1810601" cy="4572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91250" h="1563370">
                      <a:moveTo>
                        <a:pt x="0" y="0"/>
                      </a:moveTo>
                      <a:lnTo>
                        <a:pt x="6191250" y="0"/>
                      </a:lnTo>
                      <a:lnTo>
                        <a:pt x="6191250" y="1563370"/>
                      </a:lnTo>
                      <a:lnTo>
                        <a:pt x="0" y="1563370"/>
                      </a:lnTo>
                      <a:close/>
                    </a:path>
                  </a:pathLst>
                </a:custGeom>
                <a:solidFill>
                  <a:srgbClr val="E3E4E0"/>
                </a:solidFill>
              </p:spPr>
              <p:txBody>
                <a:bodyPr/>
                <a:lstStyle/>
                <a:p>
                  <a:endParaRPr lang="ko-KR" altLang="en-US"/>
                </a:p>
              </p:txBody>
            </p:sp>
            <p:sp>
              <p:nvSpPr>
                <p:cNvPr id="76" name="TextBox 76"/>
                <p:cNvSpPr txBox="1"/>
                <p:nvPr/>
              </p:nvSpPr>
              <p:spPr>
                <a:xfrm>
                  <a:off x="7567121" y="4251050"/>
                  <a:ext cx="1290418" cy="255776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ctr">
                    <a:lnSpc>
                      <a:spcPts val="2123"/>
                    </a:lnSpc>
                    <a:spcBef>
                      <a:spcPct val="0"/>
                    </a:spcBef>
                  </a:pPr>
                  <a:r>
                    <a:rPr lang="ko-KR" altLang="en-US" sz="1516" dirty="0">
                      <a:solidFill>
                        <a:srgbClr val="000000"/>
                      </a:solidFill>
                      <a:latin typeface="나눔스퀘어 네오 Regular" panose="00000500000000000000" pitchFamily="2" charset="-127"/>
                      <a:ea typeface="나눔스퀘어 네오 Regular" panose="00000500000000000000" pitchFamily="2" charset="-127"/>
                      <a:cs typeface="경기 바탕"/>
                      <a:sym typeface="경기 바탕"/>
                    </a:rPr>
                    <a:t>솔루션사업본부</a:t>
                  </a:r>
                  <a:endParaRPr lang="en-US" sz="1516" dirty="0">
                    <a:solidFill>
                      <a:srgbClr val="000000"/>
                    </a:solidFill>
                    <a:latin typeface="나눔스퀘어 네오 Regular" panose="00000500000000000000" pitchFamily="2" charset="-127"/>
                    <a:ea typeface="나눔스퀘어 네오 Regular" panose="00000500000000000000" pitchFamily="2" charset="-127"/>
                    <a:cs typeface="경기 바탕"/>
                    <a:sym typeface="경기 바탕"/>
                  </a:endParaRPr>
                </a:p>
              </p:txBody>
            </p:sp>
          </p:grpSp>
          <p:sp>
            <p:nvSpPr>
              <p:cNvPr id="29" name="Freeform 28"/>
              <p:cNvSpPr/>
              <p:nvPr/>
            </p:nvSpPr>
            <p:spPr>
              <a:xfrm>
                <a:off x="9148616" y="4150338"/>
                <a:ext cx="56176" cy="457200"/>
              </a:xfrm>
              <a:custGeom>
                <a:avLst/>
                <a:gdLst/>
                <a:ahLst/>
                <a:cxnLst/>
                <a:rect l="l" t="t" r="r" b="b"/>
                <a:pathLst>
                  <a:path w="158750" h="1563370">
                    <a:moveTo>
                      <a:pt x="0" y="0"/>
                    </a:moveTo>
                    <a:lnTo>
                      <a:pt x="158750" y="0"/>
                    </a:lnTo>
                    <a:lnTo>
                      <a:pt x="158750" y="1563370"/>
                    </a:lnTo>
                    <a:lnTo>
                      <a:pt x="0" y="1563370"/>
                    </a:lnTo>
                    <a:close/>
                  </a:path>
                </a:pathLst>
              </a:custGeom>
              <a:solidFill>
                <a:schemeClr val="tx1"/>
              </a:solidFill>
            </p:spPr>
            <p:txBody>
              <a:bodyPr/>
              <a:lstStyle/>
              <a:p>
                <a:endParaRPr lang="ko-KR" altLang="en-US"/>
              </a:p>
            </p:txBody>
          </p:sp>
        </p:grpSp>
        <p:grpSp>
          <p:nvGrpSpPr>
            <p:cNvPr id="41" name="그룹 40">
              <a:extLst>
                <a:ext uri="{FF2B5EF4-FFF2-40B4-BE49-F238E27FC236}">
                  <a16:creationId xmlns:a16="http://schemas.microsoft.com/office/drawing/2014/main" id="{D29AD86A-09E9-C4BA-E280-9B1AE7394E91}"/>
                </a:ext>
              </a:extLst>
            </p:cNvPr>
            <p:cNvGrpSpPr/>
            <p:nvPr/>
          </p:nvGrpSpPr>
          <p:grpSpPr>
            <a:xfrm>
              <a:off x="5069651" y="4195163"/>
              <a:ext cx="1991661" cy="457200"/>
              <a:chOff x="5034921" y="4150338"/>
              <a:chExt cx="1991661" cy="457200"/>
            </a:xfrm>
          </p:grpSpPr>
          <p:sp>
            <p:nvSpPr>
              <p:cNvPr id="25" name="Freeform 24"/>
              <p:cNvSpPr/>
              <p:nvPr/>
            </p:nvSpPr>
            <p:spPr>
              <a:xfrm>
                <a:off x="6881775" y="4150338"/>
                <a:ext cx="56176" cy="457200"/>
              </a:xfrm>
              <a:custGeom>
                <a:avLst/>
                <a:gdLst/>
                <a:ahLst/>
                <a:cxnLst/>
                <a:rect l="l" t="t" r="r" b="b"/>
                <a:pathLst>
                  <a:path w="158750" h="1563370">
                    <a:moveTo>
                      <a:pt x="0" y="0"/>
                    </a:moveTo>
                    <a:lnTo>
                      <a:pt x="158750" y="0"/>
                    </a:lnTo>
                    <a:lnTo>
                      <a:pt x="158750" y="1563370"/>
                    </a:lnTo>
                    <a:lnTo>
                      <a:pt x="0" y="1563370"/>
                    </a:lnTo>
                    <a:close/>
                  </a:path>
                </a:pathLst>
              </a:custGeom>
              <a:solidFill>
                <a:srgbClr val="0C233C"/>
              </a:solidFill>
            </p:spPr>
            <p:txBody>
              <a:bodyPr/>
              <a:lstStyle/>
              <a:p>
                <a:endParaRPr lang="ko-KR" altLang="en-US"/>
              </a:p>
            </p:txBody>
          </p:sp>
          <p:grpSp>
            <p:nvGrpSpPr>
              <p:cNvPr id="36" name="그룹 35">
                <a:extLst>
                  <a:ext uri="{FF2B5EF4-FFF2-40B4-BE49-F238E27FC236}">
                    <a16:creationId xmlns:a16="http://schemas.microsoft.com/office/drawing/2014/main" id="{02415D25-36DA-062C-E679-585C1B92DBA5}"/>
                  </a:ext>
                </a:extLst>
              </p:cNvPr>
              <p:cNvGrpSpPr/>
              <p:nvPr/>
            </p:nvGrpSpPr>
            <p:grpSpPr>
              <a:xfrm>
                <a:off x="5034921" y="4150338"/>
                <a:ext cx="1991661" cy="457200"/>
                <a:chOff x="5148489" y="4150338"/>
                <a:chExt cx="1810601" cy="457200"/>
              </a:xfrm>
            </p:grpSpPr>
            <p:sp>
              <p:nvSpPr>
                <p:cNvPr id="24" name="Freeform 23"/>
                <p:cNvSpPr/>
                <p:nvPr/>
              </p:nvSpPr>
              <p:spPr>
                <a:xfrm>
                  <a:off x="5148489" y="4150338"/>
                  <a:ext cx="1810601" cy="4572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91250" h="1563370">
                      <a:moveTo>
                        <a:pt x="0" y="0"/>
                      </a:moveTo>
                      <a:lnTo>
                        <a:pt x="6191250" y="0"/>
                      </a:lnTo>
                      <a:lnTo>
                        <a:pt x="6191250" y="1563370"/>
                      </a:lnTo>
                      <a:lnTo>
                        <a:pt x="0" y="1563370"/>
                      </a:lnTo>
                      <a:close/>
                    </a:path>
                  </a:pathLst>
                </a:custGeom>
                <a:solidFill>
                  <a:srgbClr val="E3E4E0"/>
                </a:solidFill>
              </p:spPr>
              <p:txBody>
                <a:bodyPr/>
                <a:lstStyle/>
                <a:p>
                  <a:endParaRPr lang="ko-KR" altLang="en-US"/>
                </a:p>
              </p:txBody>
            </p:sp>
            <p:sp>
              <p:nvSpPr>
                <p:cNvPr id="75" name="TextBox 75"/>
                <p:cNvSpPr txBox="1"/>
                <p:nvPr/>
              </p:nvSpPr>
              <p:spPr>
                <a:xfrm>
                  <a:off x="5156909" y="4251050"/>
                  <a:ext cx="1793761" cy="255776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ctr">
                    <a:lnSpc>
                      <a:spcPts val="2123"/>
                    </a:lnSpc>
                    <a:spcBef>
                      <a:spcPct val="0"/>
                    </a:spcBef>
                  </a:pPr>
                  <a:r>
                    <a:rPr lang="ko-KR" altLang="en-US" sz="1516" dirty="0">
                      <a:solidFill>
                        <a:srgbClr val="000000"/>
                      </a:solidFill>
                      <a:latin typeface="나눔스퀘어 네오 Regular" panose="00000500000000000000" pitchFamily="2" charset="-127"/>
                      <a:ea typeface="나눔스퀘어 네오 Regular" panose="00000500000000000000" pitchFamily="2" charset="-127"/>
                      <a:cs typeface="경기 바탕"/>
                      <a:sym typeface="경기 바탕"/>
                    </a:rPr>
                    <a:t>제조</a:t>
                  </a:r>
                  <a:r>
                    <a:rPr lang="en-US" altLang="ko-KR" sz="1516" dirty="0">
                      <a:solidFill>
                        <a:srgbClr val="000000"/>
                      </a:solidFill>
                      <a:latin typeface="나눔스퀘어 네오 Regular" panose="00000500000000000000" pitchFamily="2" charset="-127"/>
                      <a:ea typeface="나눔스퀘어 네오 Regular" panose="00000500000000000000" pitchFamily="2" charset="-127"/>
                      <a:cs typeface="경기 바탕"/>
                      <a:sym typeface="경기 바탕"/>
                    </a:rPr>
                    <a:t>/</a:t>
                  </a:r>
                  <a:r>
                    <a:rPr lang="ko-KR" altLang="en-US" sz="1516" dirty="0">
                      <a:solidFill>
                        <a:srgbClr val="000000"/>
                      </a:solidFill>
                      <a:latin typeface="나눔스퀘어 네오 Regular" panose="00000500000000000000" pitchFamily="2" charset="-127"/>
                      <a:ea typeface="나눔스퀘어 네오 Regular" panose="00000500000000000000" pitchFamily="2" charset="-127"/>
                      <a:cs typeface="경기 바탕"/>
                      <a:sym typeface="경기 바탕"/>
                    </a:rPr>
                    <a:t>서비스 사업본부</a:t>
                  </a:r>
                  <a:endParaRPr lang="en-US" sz="1516" dirty="0">
                    <a:solidFill>
                      <a:srgbClr val="000000"/>
                    </a:solidFill>
                    <a:latin typeface="나눔스퀘어 네오 Regular" panose="00000500000000000000" pitchFamily="2" charset="-127"/>
                    <a:ea typeface="나눔스퀘어 네오 Regular" panose="00000500000000000000" pitchFamily="2" charset="-127"/>
                    <a:cs typeface="경기 바탕"/>
                    <a:sym typeface="경기 바탕"/>
                  </a:endParaRPr>
                </a:p>
              </p:txBody>
            </p:sp>
          </p:grpSp>
          <p:sp>
            <p:nvSpPr>
              <p:cNvPr id="38" name="Freeform 28">
                <a:extLst>
                  <a:ext uri="{FF2B5EF4-FFF2-40B4-BE49-F238E27FC236}">
                    <a16:creationId xmlns:a16="http://schemas.microsoft.com/office/drawing/2014/main" id="{2D1D8B05-5DA0-E9B0-34DA-71C9D5ACE098}"/>
                  </a:ext>
                </a:extLst>
              </p:cNvPr>
              <p:cNvSpPr/>
              <p:nvPr/>
            </p:nvSpPr>
            <p:spPr>
              <a:xfrm>
                <a:off x="6970406" y="4150338"/>
                <a:ext cx="56176" cy="457200"/>
              </a:xfrm>
              <a:custGeom>
                <a:avLst/>
                <a:gdLst/>
                <a:ahLst/>
                <a:cxnLst/>
                <a:rect l="l" t="t" r="r" b="b"/>
                <a:pathLst>
                  <a:path w="158750" h="1563370">
                    <a:moveTo>
                      <a:pt x="0" y="0"/>
                    </a:moveTo>
                    <a:lnTo>
                      <a:pt x="158750" y="0"/>
                    </a:lnTo>
                    <a:lnTo>
                      <a:pt x="158750" y="1563370"/>
                    </a:lnTo>
                    <a:lnTo>
                      <a:pt x="0" y="1563370"/>
                    </a:lnTo>
                    <a:close/>
                  </a:path>
                </a:pathLst>
              </a:custGeom>
              <a:solidFill>
                <a:schemeClr val="tx1"/>
              </a:solidFill>
            </p:spPr>
            <p:txBody>
              <a:bodyPr/>
              <a:lstStyle/>
              <a:p>
                <a:endParaRPr lang="ko-KR" altLang="en-US"/>
              </a:p>
            </p:txBody>
          </p:sp>
        </p:grpSp>
      </p:grpSp>
      <p:sp>
        <p:nvSpPr>
          <p:cNvPr id="4" name="직사각형 3">
            <a:extLst>
              <a:ext uri="{FF2B5EF4-FFF2-40B4-BE49-F238E27FC236}">
                <a16:creationId xmlns:a16="http://schemas.microsoft.com/office/drawing/2014/main" id="{76BA263B-8C67-6056-92F4-F94B7AAE258C}"/>
              </a:ext>
            </a:extLst>
          </p:cNvPr>
          <p:cNvSpPr/>
          <p:nvPr/>
        </p:nvSpPr>
        <p:spPr>
          <a:xfrm>
            <a:off x="6445595" y="1304925"/>
            <a:ext cx="3822355" cy="2451208"/>
          </a:xfrm>
          <a:prstGeom prst="rect">
            <a:avLst/>
          </a:prstGeom>
          <a:solidFill>
            <a:srgbClr val="E3E4E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현재 </a:t>
            </a:r>
            <a:r>
              <a:rPr lang="ko-KR" altLang="en-US" dirty="0" err="1">
                <a:solidFill>
                  <a:schemeClr val="tx1"/>
                </a:solidFill>
              </a:rPr>
              <a:t>뱅가드랩</a:t>
            </a:r>
            <a:r>
              <a:rPr lang="ko-KR" altLang="en-US" dirty="0">
                <a:solidFill>
                  <a:schemeClr val="tx1"/>
                </a:solidFill>
              </a:rPr>
              <a:t> 조직도로 수정</a:t>
            </a:r>
          </a:p>
        </p:txBody>
      </p:sp>
    </p:spTree>
    <p:extLst>
      <p:ext uri="{BB962C8B-B14F-4D97-AF65-F5344CB8AC3E}">
        <p14:creationId xmlns:p14="http://schemas.microsoft.com/office/powerpoint/2010/main" val="34073842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>
            <a:extLst>
              <a:ext uri="{FF2B5EF4-FFF2-40B4-BE49-F238E27FC236}">
                <a16:creationId xmlns:a16="http://schemas.microsoft.com/office/drawing/2014/main" id="{CDD70FA8-2746-A6FE-EA0C-5C53635DB50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altLang="ko-KR" dirty="0"/>
              <a:t>All-in-one </a:t>
            </a:r>
            <a:r>
              <a:rPr lang="ko-KR" altLang="en-US" dirty="0"/>
              <a:t>로우 코드 개발 플랫폼인 </a:t>
            </a:r>
            <a:r>
              <a:rPr lang="en-US" altLang="ko-KR" dirty="0"/>
              <a:t>Mendix</a:t>
            </a:r>
            <a:r>
              <a:rPr lang="ko-KR" altLang="en-US" dirty="0"/>
              <a:t>는 비즈니스 애플리케이션을 비개발자도 시각적 개발 환경을 통해 신속하게 개발할 수 있도록 도와줍니다</a:t>
            </a:r>
            <a:r>
              <a:rPr lang="en-US" altLang="ko-KR" dirty="0"/>
              <a:t>. </a:t>
            </a:r>
            <a:r>
              <a:rPr lang="ko-KR" altLang="en-US" dirty="0"/>
              <a:t>개발 프로세스를 최적화하고 자동화하여 복잡한 비즈니스 요구 사항을 빠르고 효율적으로 해결할 수 있습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3" name="제목 2">
            <a:extLst>
              <a:ext uri="{FF2B5EF4-FFF2-40B4-BE49-F238E27FC236}">
                <a16:creationId xmlns:a16="http://schemas.microsoft.com/office/drawing/2014/main" id="{13817B09-BF67-EB86-9CB4-16AE0F3F9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MENDIX</a:t>
            </a:r>
            <a:endParaRPr lang="ko-KR" altLang="en-US" dirty="0"/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D2BC12D0-FD59-DFC0-7C6A-178DB253C8F3}"/>
              </a:ext>
            </a:extLst>
          </p:cNvPr>
          <p:cNvGrpSpPr>
            <a:grpSpLocks/>
          </p:cNvGrpSpPr>
          <p:nvPr/>
        </p:nvGrpSpPr>
        <p:grpSpPr>
          <a:xfrm>
            <a:off x="1432553" y="2142233"/>
            <a:ext cx="7050188" cy="3737680"/>
            <a:chOff x="1432553" y="2142233"/>
            <a:chExt cx="7050188" cy="3737680"/>
          </a:xfrm>
        </p:grpSpPr>
        <p:grpSp>
          <p:nvGrpSpPr>
            <p:cNvPr id="5" name="그룹 4">
              <a:extLst>
                <a:ext uri="{FF2B5EF4-FFF2-40B4-BE49-F238E27FC236}">
                  <a16:creationId xmlns:a16="http://schemas.microsoft.com/office/drawing/2014/main" id="{F7CCC7D8-6B70-7315-0992-9000CC1D207C}"/>
                </a:ext>
              </a:extLst>
            </p:cNvPr>
            <p:cNvGrpSpPr>
              <a:grpSpLocks/>
            </p:cNvGrpSpPr>
            <p:nvPr/>
          </p:nvGrpSpPr>
          <p:grpSpPr>
            <a:xfrm>
              <a:off x="1432553" y="2142233"/>
              <a:ext cx="3373200" cy="1728000"/>
              <a:chOff x="1432553" y="2142233"/>
              <a:chExt cx="3373200" cy="1728000"/>
            </a:xfrm>
          </p:grpSpPr>
          <p:sp>
            <p:nvSpPr>
              <p:cNvPr id="21" name="Freeform 5">
                <a:extLst>
                  <a:ext uri="{FF2B5EF4-FFF2-40B4-BE49-F238E27FC236}">
                    <a16:creationId xmlns:a16="http://schemas.microsoft.com/office/drawing/2014/main" id="{E57C1BA8-2B20-7087-46CF-DA8B6B92CCC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432553" y="2142233"/>
                <a:ext cx="3373200" cy="1728000"/>
              </a:xfrm>
              <a:prstGeom prst="rect">
                <a:avLst/>
              </a:prstGeom>
              <a:solidFill>
                <a:srgbClr val="F4F4F4"/>
              </a:solidFill>
              <a:ln>
                <a:solidFill>
                  <a:schemeClr val="bg1"/>
                </a:solidFill>
              </a:ln>
            </p:spPr>
            <p:txBody>
              <a:bodyPr/>
              <a:lstStyle/>
              <a:p>
                <a:endParaRPr lang="ko-KR" alt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TextBox 33">
                <a:extLst>
                  <a:ext uri="{FF2B5EF4-FFF2-40B4-BE49-F238E27FC236}">
                    <a16:creationId xmlns:a16="http://schemas.microsoft.com/office/drawing/2014/main" id="{E78893A0-561A-959C-9359-0BAE2740808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432553" y="2348880"/>
                <a:ext cx="3373200" cy="30777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altLang="ko-KR" sz="2000" b="1" dirty="0">
                    <a:latin typeface="Outfit" pitchFamily="2" charset="0"/>
                    <a:ea typeface="Noto Sans CJK KR Bold" panose="020B0800000000000000" pitchFamily="34" charset="-127"/>
                    <a:cs typeface="Univers for KPMG"/>
                  </a:rPr>
                  <a:t>MODELING</a:t>
                </a:r>
                <a:endParaRPr lang="ko-KR" altLang="en-US" sz="2000" b="1" dirty="0">
                  <a:latin typeface="Outfit" pitchFamily="2" charset="0"/>
                  <a:ea typeface="Noto Sans CJK KR Bold" panose="020B0800000000000000" pitchFamily="34" charset="-127"/>
                  <a:cs typeface="Univers for KPMG"/>
                </a:endParaRPr>
              </a:p>
            </p:txBody>
          </p:sp>
          <p:sp>
            <p:nvSpPr>
              <p:cNvPr id="23" name="TextBox 37">
                <a:extLst>
                  <a:ext uri="{FF2B5EF4-FFF2-40B4-BE49-F238E27FC236}">
                    <a16:creationId xmlns:a16="http://schemas.microsoft.com/office/drawing/2014/main" id="{5550FC06-00F9-11D0-5142-28F5771D6D9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30664" y="2790620"/>
                <a:ext cx="1376980" cy="899605"/>
              </a:xfrm>
              <a:prstGeom prst="rect">
                <a:avLst/>
              </a:prstGeom>
            </p:spPr>
            <p:txBody>
              <a:bodyPr wrap="none" lIns="0" tIns="0" rIns="0" bIns="0" rtlCol="0" anchor="t">
                <a:spAutoFit/>
              </a:bodyPr>
              <a:lstStyle/>
              <a:p>
                <a:pPr algn="ctr">
                  <a:lnSpc>
                    <a:spcPts val="2400"/>
                  </a:lnSpc>
                </a:pPr>
                <a:r>
                  <a:rPr lang="en-US" altLang="ko-KR" dirty="0">
                    <a:latin typeface="Outfit Light" pitchFamily="2" charset="0"/>
                    <a:ea typeface="Noto Sans CJK KR DemiLight" panose="020B0400000000000000" pitchFamily="34" charset="-127"/>
                    <a:cs typeface="Univers for KPMG"/>
                  </a:rPr>
                  <a:t>Domain Model</a:t>
                </a:r>
              </a:p>
              <a:p>
                <a:pPr algn="ctr">
                  <a:lnSpc>
                    <a:spcPts val="2400"/>
                  </a:lnSpc>
                </a:pPr>
                <a:r>
                  <a:rPr lang="en-US" altLang="ko-KR" dirty="0" err="1">
                    <a:latin typeface="Outfit Light" pitchFamily="2" charset="0"/>
                    <a:ea typeface="Noto Sans CJK KR DemiLight" panose="020B0400000000000000" pitchFamily="34" charset="-127"/>
                    <a:cs typeface="Univers for KPMG"/>
                  </a:rPr>
                  <a:t>Xpath</a:t>
                </a:r>
                <a:endParaRPr lang="en-US" altLang="ko-KR" dirty="0">
                  <a:latin typeface="Outfit Light" pitchFamily="2" charset="0"/>
                  <a:ea typeface="Noto Sans CJK KR DemiLight" panose="020B0400000000000000" pitchFamily="34" charset="-127"/>
                  <a:cs typeface="Univers for KPMG"/>
                </a:endParaRPr>
              </a:p>
              <a:p>
                <a:pPr algn="ctr">
                  <a:lnSpc>
                    <a:spcPts val="2400"/>
                  </a:lnSpc>
                </a:pPr>
                <a:r>
                  <a:rPr lang="en-US" altLang="ko-KR" dirty="0">
                    <a:latin typeface="Outfit Light" pitchFamily="2" charset="0"/>
                    <a:ea typeface="Noto Sans CJK KR DemiLight" panose="020B0400000000000000" pitchFamily="34" charset="-127"/>
                    <a:cs typeface="Univers for KPMG"/>
                  </a:rPr>
                  <a:t>Database</a:t>
                </a:r>
              </a:p>
            </p:txBody>
          </p:sp>
        </p:grpSp>
        <p:grpSp>
          <p:nvGrpSpPr>
            <p:cNvPr id="6" name="그룹 5">
              <a:extLst>
                <a:ext uri="{FF2B5EF4-FFF2-40B4-BE49-F238E27FC236}">
                  <a16:creationId xmlns:a16="http://schemas.microsoft.com/office/drawing/2014/main" id="{6D14C990-A5DE-6975-4CDC-F8D1943BC144}"/>
                </a:ext>
              </a:extLst>
            </p:cNvPr>
            <p:cNvGrpSpPr>
              <a:grpSpLocks/>
            </p:cNvGrpSpPr>
            <p:nvPr/>
          </p:nvGrpSpPr>
          <p:grpSpPr>
            <a:xfrm>
              <a:off x="5109541" y="2142233"/>
              <a:ext cx="3373200" cy="1728000"/>
              <a:chOff x="5109541" y="2142233"/>
              <a:chExt cx="3373200" cy="1728000"/>
            </a:xfrm>
          </p:grpSpPr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4913DB6F-309F-4F13-2B8B-A534FC768F9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09541" y="2142233"/>
                <a:ext cx="3373200" cy="1728000"/>
              </a:xfrm>
              <a:prstGeom prst="rect">
                <a:avLst/>
              </a:prstGeom>
              <a:solidFill>
                <a:srgbClr val="F4F4F4"/>
              </a:solidFill>
              <a:ln>
                <a:solidFill>
                  <a:schemeClr val="bg1"/>
                </a:solidFill>
              </a:ln>
            </p:spPr>
            <p:txBody>
              <a:bodyPr/>
              <a:lstStyle/>
              <a:p>
                <a:endParaRPr lang="ko-KR" alt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TextBox 34">
                <a:extLst>
                  <a:ext uri="{FF2B5EF4-FFF2-40B4-BE49-F238E27FC236}">
                    <a16:creationId xmlns:a16="http://schemas.microsoft.com/office/drawing/2014/main" id="{B23C5512-7366-FC63-732D-98E57C8AD00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109541" y="2351714"/>
                <a:ext cx="3373200" cy="30777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altLang="ko-KR" sz="2000" b="1" dirty="0">
                    <a:latin typeface="Outfit" pitchFamily="2" charset="0"/>
                    <a:ea typeface="Noto Sans CJK KR Bold" panose="020B0800000000000000" pitchFamily="34" charset="-127"/>
                    <a:cs typeface="Univers for KPMG"/>
                  </a:rPr>
                  <a:t>BUSINESS LOGIC</a:t>
                </a:r>
                <a:endParaRPr lang="ko-KR" altLang="en-US" sz="2000" b="1" dirty="0">
                  <a:latin typeface="Outfit" pitchFamily="2" charset="0"/>
                  <a:ea typeface="Noto Sans CJK KR Bold" panose="020B0800000000000000" pitchFamily="34" charset="-127"/>
                  <a:cs typeface="Univers for KPMG"/>
                </a:endParaRPr>
              </a:p>
            </p:txBody>
          </p:sp>
          <p:sp>
            <p:nvSpPr>
              <p:cNvPr id="20" name="TextBox 38">
                <a:extLst>
                  <a:ext uri="{FF2B5EF4-FFF2-40B4-BE49-F238E27FC236}">
                    <a16:creationId xmlns:a16="http://schemas.microsoft.com/office/drawing/2014/main" id="{6E9F984B-F03E-E3EA-9DCA-7DF664D90E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987973" y="2780928"/>
                <a:ext cx="1616340" cy="899605"/>
              </a:xfrm>
              <a:prstGeom prst="rect">
                <a:avLst/>
              </a:prstGeom>
            </p:spPr>
            <p:txBody>
              <a:bodyPr wrap="none" lIns="0" tIns="0" rIns="0" bIns="0" rtlCol="0" anchor="t">
                <a:spAutoFit/>
              </a:bodyPr>
              <a:lstStyle/>
              <a:p>
                <a:pPr algn="ctr">
                  <a:lnSpc>
                    <a:spcPts val="2400"/>
                  </a:lnSpc>
                </a:pPr>
                <a:r>
                  <a:rPr lang="en-US" altLang="ko-KR" dirty="0">
                    <a:latin typeface="Outfit Light" pitchFamily="2" charset="0"/>
                    <a:ea typeface="Noto Sans CJK KR DemiLight" panose="020B0400000000000000" pitchFamily="34" charset="-127"/>
                    <a:cs typeface="Univers for KPMG"/>
                  </a:rPr>
                  <a:t>Microflow</a:t>
                </a:r>
              </a:p>
              <a:p>
                <a:pPr algn="ctr">
                  <a:lnSpc>
                    <a:spcPts val="2400"/>
                  </a:lnSpc>
                </a:pPr>
                <a:r>
                  <a:rPr lang="en-US" altLang="ko-KR" dirty="0">
                    <a:latin typeface="Outfit Light" pitchFamily="2" charset="0"/>
                    <a:ea typeface="Noto Sans CJK KR DemiLight" panose="020B0400000000000000" pitchFamily="34" charset="-127"/>
                    <a:cs typeface="Univers for KPMG"/>
                  </a:rPr>
                  <a:t>Java Action</a:t>
                </a:r>
              </a:p>
              <a:p>
                <a:pPr algn="ctr">
                  <a:lnSpc>
                    <a:spcPts val="2400"/>
                  </a:lnSpc>
                </a:pPr>
                <a:r>
                  <a:rPr lang="en-US" altLang="ko-KR" dirty="0">
                    <a:latin typeface="Outfit Light" pitchFamily="2" charset="0"/>
                    <a:ea typeface="Noto Sans CJK KR DemiLight" panose="020B0400000000000000" pitchFamily="34" charset="-127"/>
                    <a:cs typeface="Univers for KPMG"/>
                  </a:rPr>
                  <a:t>Service Interface</a:t>
                </a:r>
              </a:p>
            </p:txBody>
          </p:sp>
        </p:grpSp>
        <p:grpSp>
          <p:nvGrpSpPr>
            <p:cNvPr id="7" name="그룹 6">
              <a:extLst>
                <a:ext uri="{FF2B5EF4-FFF2-40B4-BE49-F238E27FC236}">
                  <a16:creationId xmlns:a16="http://schemas.microsoft.com/office/drawing/2014/main" id="{B35E2B4F-BA7C-3574-8A95-C05A7C1C2E2F}"/>
                </a:ext>
              </a:extLst>
            </p:cNvPr>
            <p:cNvGrpSpPr>
              <a:grpSpLocks/>
            </p:cNvGrpSpPr>
            <p:nvPr/>
          </p:nvGrpSpPr>
          <p:grpSpPr>
            <a:xfrm>
              <a:off x="1432553" y="4151913"/>
              <a:ext cx="3373200" cy="1728000"/>
              <a:chOff x="1432553" y="4151913"/>
              <a:chExt cx="3373200" cy="1728000"/>
            </a:xfrm>
          </p:grpSpPr>
          <p:sp>
            <p:nvSpPr>
              <p:cNvPr id="15" name="Freeform 11">
                <a:extLst>
                  <a:ext uri="{FF2B5EF4-FFF2-40B4-BE49-F238E27FC236}">
                    <a16:creationId xmlns:a16="http://schemas.microsoft.com/office/drawing/2014/main" id="{00DB55E6-7FE8-44CF-9D25-48903BD524D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432553" y="4151913"/>
                <a:ext cx="3373200" cy="1728000"/>
              </a:xfrm>
              <a:prstGeom prst="rect">
                <a:avLst/>
              </a:prstGeom>
              <a:solidFill>
                <a:srgbClr val="F4F4F4"/>
              </a:solidFill>
              <a:ln>
                <a:solidFill>
                  <a:schemeClr val="bg1"/>
                </a:solidFill>
              </a:ln>
            </p:spPr>
            <p:txBody>
              <a:bodyPr/>
              <a:lstStyle/>
              <a:p>
                <a:endParaRPr lang="ko-KR" alt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TextBox 35">
                <a:extLst>
                  <a:ext uri="{FF2B5EF4-FFF2-40B4-BE49-F238E27FC236}">
                    <a16:creationId xmlns:a16="http://schemas.microsoft.com/office/drawing/2014/main" id="{57F60938-0C8E-54EE-A92A-3CCB58BD593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432553" y="4371703"/>
                <a:ext cx="3373200" cy="30777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altLang="ko-KR" sz="2000" b="1" dirty="0">
                    <a:latin typeface="Outfit" pitchFamily="2" charset="0"/>
                    <a:ea typeface="Noto Sans CJK KR Bold" panose="020B0800000000000000" pitchFamily="34" charset="-127"/>
                    <a:cs typeface="Univers for KPMG"/>
                  </a:rPr>
                  <a:t>UI</a:t>
                </a:r>
                <a:endParaRPr lang="ko-KR" altLang="en-US" sz="2000" b="1" dirty="0">
                  <a:latin typeface="Outfit" pitchFamily="2" charset="0"/>
                  <a:ea typeface="Noto Sans CJK KR Bold" panose="020B0800000000000000" pitchFamily="34" charset="-127"/>
                  <a:cs typeface="Univers for KPMG"/>
                </a:endParaRPr>
              </a:p>
            </p:txBody>
          </p:sp>
          <p:sp>
            <p:nvSpPr>
              <p:cNvPr id="17" name="TextBox 39">
                <a:extLst>
                  <a:ext uri="{FF2B5EF4-FFF2-40B4-BE49-F238E27FC236}">
                    <a16:creationId xmlns:a16="http://schemas.microsoft.com/office/drawing/2014/main" id="{585995AB-D039-7FE9-8015-97450EBC5FD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11877" y="4816896"/>
                <a:ext cx="1414554" cy="899605"/>
              </a:xfrm>
              <a:prstGeom prst="rect">
                <a:avLst/>
              </a:prstGeom>
            </p:spPr>
            <p:txBody>
              <a:bodyPr wrap="none" lIns="0" tIns="0" rIns="0" bIns="0" rtlCol="0" anchor="t">
                <a:spAutoFit/>
              </a:bodyPr>
              <a:lstStyle/>
              <a:p>
                <a:pPr algn="ctr">
                  <a:lnSpc>
                    <a:spcPts val="2400"/>
                  </a:lnSpc>
                </a:pPr>
                <a:r>
                  <a:rPr lang="en-US" altLang="ko-KR" dirty="0">
                    <a:latin typeface="Outfit Light" pitchFamily="2" charset="0"/>
                    <a:ea typeface="Noto Sans CJK KR DemiLight" panose="020B0400000000000000" pitchFamily="34" charset="-127"/>
                    <a:cs typeface="Univers for KPMG"/>
                  </a:rPr>
                  <a:t>Page</a:t>
                </a:r>
              </a:p>
              <a:p>
                <a:pPr algn="ctr">
                  <a:lnSpc>
                    <a:spcPts val="2400"/>
                  </a:lnSpc>
                </a:pPr>
                <a:r>
                  <a:rPr lang="en-US" altLang="ko-KR" dirty="0">
                    <a:latin typeface="Outfit Light" pitchFamily="2" charset="0"/>
                    <a:ea typeface="Noto Sans CJK KR DemiLight" panose="020B0400000000000000" pitchFamily="34" charset="-127"/>
                    <a:cs typeface="Univers for KPMG"/>
                  </a:rPr>
                  <a:t>Layout,</a:t>
                </a:r>
                <a:r>
                  <a:rPr lang="ko-KR" altLang="en-US" dirty="0">
                    <a:latin typeface="Outfit Light" pitchFamily="2" charset="0"/>
                    <a:ea typeface="Noto Sans CJK KR DemiLight" panose="020B0400000000000000" pitchFamily="34" charset="-127"/>
                    <a:cs typeface="Univers for KPMG"/>
                  </a:rPr>
                  <a:t> </a:t>
                </a:r>
                <a:r>
                  <a:rPr lang="en-US" altLang="ko-KR" dirty="0">
                    <a:latin typeface="Outfit Light" pitchFamily="2" charset="0"/>
                    <a:ea typeface="Noto Sans CJK KR DemiLight" panose="020B0400000000000000" pitchFamily="34" charset="-127"/>
                    <a:cs typeface="Univers for KPMG"/>
                  </a:rPr>
                  <a:t>Widget</a:t>
                </a:r>
              </a:p>
              <a:p>
                <a:pPr algn="ctr">
                  <a:lnSpc>
                    <a:spcPts val="2400"/>
                  </a:lnSpc>
                </a:pPr>
                <a:r>
                  <a:rPr lang="en-US" altLang="ko-KR" dirty="0">
                    <a:latin typeface="Outfit Light" pitchFamily="2" charset="0"/>
                    <a:ea typeface="Noto Sans CJK KR DemiLight" panose="020B0400000000000000" pitchFamily="34" charset="-127"/>
                    <a:cs typeface="Univers for KPMG"/>
                  </a:rPr>
                  <a:t>Nanoflow</a:t>
                </a:r>
              </a:p>
            </p:txBody>
          </p:sp>
        </p:grpSp>
        <p:grpSp>
          <p:nvGrpSpPr>
            <p:cNvPr id="8" name="그룹 7">
              <a:extLst>
                <a:ext uri="{FF2B5EF4-FFF2-40B4-BE49-F238E27FC236}">
                  <a16:creationId xmlns:a16="http://schemas.microsoft.com/office/drawing/2014/main" id="{E6877BB4-FFB9-570B-0398-97EE550087A7}"/>
                </a:ext>
              </a:extLst>
            </p:cNvPr>
            <p:cNvGrpSpPr>
              <a:grpSpLocks/>
            </p:cNvGrpSpPr>
            <p:nvPr/>
          </p:nvGrpSpPr>
          <p:grpSpPr>
            <a:xfrm>
              <a:off x="5109541" y="4151913"/>
              <a:ext cx="3373200" cy="1728000"/>
              <a:chOff x="5109541" y="4151913"/>
              <a:chExt cx="3373200" cy="1728000"/>
            </a:xfrm>
          </p:grpSpPr>
          <p:sp>
            <p:nvSpPr>
              <p:cNvPr id="12" name="Freeform 14">
                <a:extLst>
                  <a:ext uri="{FF2B5EF4-FFF2-40B4-BE49-F238E27FC236}">
                    <a16:creationId xmlns:a16="http://schemas.microsoft.com/office/drawing/2014/main" id="{4B0CEAAE-ED61-AF60-F9A7-7564E5B716F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09541" y="4151913"/>
                <a:ext cx="3373200" cy="1728000"/>
              </a:xfrm>
              <a:prstGeom prst="rect">
                <a:avLst/>
              </a:prstGeom>
              <a:solidFill>
                <a:srgbClr val="F4F4F4"/>
              </a:solidFill>
              <a:ln>
                <a:solidFill>
                  <a:schemeClr val="bg1"/>
                </a:solidFill>
              </a:ln>
            </p:spPr>
            <p:txBody>
              <a:bodyPr/>
              <a:lstStyle/>
              <a:p>
                <a:endParaRPr lang="ko-KR" alt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TextBox 36">
                <a:extLst>
                  <a:ext uri="{FF2B5EF4-FFF2-40B4-BE49-F238E27FC236}">
                    <a16:creationId xmlns:a16="http://schemas.microsoft.com/office/drawing/2014/main" id="{F8D18114-4008-4A61-3487-A80F98B080F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109541" y="4371703"/>
                <a:ext cx="3373200" cy="30777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/>
                <a:r>
                  <a:rPr lang="en-US" altLang="ko-KR" sz="2000" b="1" dirty="0">
                    <a:latin typeface="Outfit" pitchFamily="2" charset="0"/>
                    <a:ea typeface="Noto Sans CJK KR Bold" panose="020B0800000000000000" pitchFamily="34" charset="-127"/>
                    <a:cs typeface="Univers for KPMG"/>
                  </a:rPr>
                  <a:t>OPERATIONS</a:t>
                </a:r>
                <a:endParaRPr lang="ko-KR" altLang="en-US" sz="2000" b="1" dirty="0">
                  <a:latin typeface="Outfit" pitchFamily="2" charset="0"/>
                  <a:ea typeface="Noto Sans CJK KR Bold" panose="020B0800000000000000" pitchFamily="34" charset="-127"/>
                  <a:cs typeface="Univers for KPMG"/>
                </a:endParaRPr>
              </a:p>
            </p:txBody>
          </p:sp>
          <p:sp>
            <p:nvSpPr>
              <p:cNvPr id="14" name="TextBox 40">
                <a:extLst>
                  <a:ext uri="{FF2B5EF4-FFF2-40B4-BE49-F238E27FC236}">
                    <a16:creationId xmlns:a16="http://schemas.microsoft.com/office/drawing/2014/main" id="{2DFBC783-DB5A-2680-0C34-CBA6A4896D7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178985" y="4816896"/>
                <a:ext cx="1234312" cy="589392"/>
              </a:xfrm>
              <a:prstGeom prst="rect">
                <a:avLst/>
              </a:prstGeom>
            </p:spPr>
            <p:txBody>
              <a:bodyPr wrap="none" lIns="0" tIns="0" rIns="0" bIns="0" rtlCol="0" anchor="t">
                <a:spAutoFit/>
              </a:bodyPr>
              <a:lstStyle/>
              <a:p>
                <a:pPr algn="ctr">
                  <a:lnSpc>
                    <a:spcPts val="2400"/>
                  </a:lnSpc>
                </a:pPr>
                <a:r>
                  <a:rPr lang="en-US" altLang="ko-KR" dirty="0">
                    <a:latin typeface="Outfit Light" pitchFamily="2" charset="0"/>
                    <a:ea typeface="Noto Sans CJK KR DemiLight" panose="020B0400000000000000" pitchFamily="34" charset="-127"/>
                    <a:cs typeface="Univers for KPMG"/>
                  </a:rPr>
                  <a:t>Mendix Cloud</a:t>
                </a:r>
              </a:p>
              <a:p>
                <a:pPr algn="ctr">
                  <a:lnSpc>
                    <a:spcPts val="2400"/>
                  </a:lnSpc>
                </a:pPr>
                <a:r>
                  <a:rPr lang="en-US" altLang="ko-KR" dirty="0">
                    <a:latin typeface="Outfit Light" pitchFamily="2" charset="0"/>
                    <a:ea typeface="Noto Sans CJK KR DemiLight" panose="020B0400000000000000" pitchFamily="34" charset="-127"/>
                  </a:rPr>
                  <a:t>Deployment</a:t>
                </a:r>
                <a:endParaRPr lang="ko-KR" altLang="en-US" dirty="0">
                  <a:latin typeface="Outfit Light" pitchFamily="2" charset="0"/>
                  <a:ea typeface="Noto Sans CJK KR DemiLight" panose="020B0400000000000000" pitchFamily="34" charset="-127"/>
                  <a:cs typeface="Univers for KPMG"/>
                </a:endParaRPr>
              </a:p>
            </p:txBody>
          </p:sp>
        </p:grp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BC6322EB-C4BB-2706-5966-D7AF7073E35B}"/>
                </a:ext>
              </a:extLst>
            </p:cNvPr>
            <p:cNvGrpSpPr>
              <a:grpSpLocks/>
            </p:cNvGrpSpPr>
            <p:nvPr/>
          </p:nvGrpSpPr>
          <p:grpSpPr>
            <a:xfrm>
              <a:off x="4270093" y="3332472"/>
              <a:ext cx="1364487" cy="1364487"/>
              <a:chOff x="4270093" y="3332472"/>
              <a:chExt cx="1364487" cy="1364487"/>
            </a:xfrm>
          </p:grpSpPr>
          <p:sp>
            <p:nvSpPr>
              <p:cNvPr id="10" name="Freeform 17">
                <a:extLst>
                  <a:ext uri="{FF2B5EF4-FFF2-40B4-BE49-F238E27FC236}">
                    <a16:creationId xmlns:a16="http://schemas.microsoft.com/office/drawing/2014/main" id="{5DFD05E4-1550-E4CD-0461-5259CD0ACD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70093" y="3332472"/>
                <a:ext cx="1364487" cy="1364487"/>
              </a:xfrm>
              <a:prstGeom prst="flowChartProcess">
                <a:avLst/>
              </a:prstGeom>
              <a:solidFill>
                <a:srgbClr val="0C233C"/>
              </a:solidFill>
              <a:ln w="127000" cap="rnd">
                <a:solidFill>
                  <a:schemeClr val="bg1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1" name="Text Placeholder 6">
                <a:extLst>
                  <a:ext uri="{FF2B5EF4-FFF2-40B4-BE49-F238E27FC236}">
                    <a16:creationId xmlns:a16="http://schemas.microsoft.com/office/drawing/2014/main" id="{7642CBC3-6BA3-F7A1-7896-620C7627CA2F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4377485" y="3816715"/>
                <a:ext cx="1149702" cy="396000"/>
              </a:xfrm>
              <a:prstGeom prst="rect">
                <a:avLst/>
              </a:pr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 l="-45967" t="-29135" r="2757" b="4405"/>
                </a:stretch>
              </a:blipFill>
            </p:spPr>
            <p:txBody>
              <a:bodyPr/>
              <a:lstStyle>
                <a:lvl1pPr marL="0" indent="0" eaLnBrk="1" latinLnBrk="1" hangingPunct="1">
                  <a:spcAft>
                    <a:spcPts val="650"/>
                  </a:spcAft>
                  <a:buNone/>
                  <a:defRPr lang="en-US" altLang="en-US" sz="100" b="1" i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맑은 고딕" panose="020B0503020000020004" pitchFamily="50" charset="-127"/>
                  </a:defRPr>
                </a:lvl1pPr>
                <a:lvl2pPr marL="0" indent="0" eaLnBrk="1" latinLnBrk="1" hangingPunct="1">
                  <a:spcAft>
                    <a:spcPts val="650"/>
                  </a:spcAft>
                  <a:buFont typeface="Univers for KPMG"/>
                  <a:buNone/>
                  <a:defRPr sz="1400" b="0" i="0">
                    <a:solidFill>
                      <a:srgbClr val="003087"/>
                    </a:solidFill>
                    <a:latin typeface="Univers for KPMG Light" panose="020B0403020202020204" pitchFamily="34" charset="0"/>
                    <a:cs typeface="Univers for KPMG" panose="020B0603020202020204" pitchFamily="34" charset="0"/>
                  </a:defRPr>
                </a:lvl2pPr>
                <a:lvl3pPr marL="307975" indent="-307975" algn="l" eaLnBrk="1" latinLnBrk="1" hangingPunct="1">
                  <a:spcAft>
                    <a:spcPts val="650"/>
                  </a:spcAft>
                  <a:buFont typeface="Univers for KPMG Light" panose="020B0403020202020204" pitchFamily="34" charset="0"/>
                  <a:buChar char="—"/>
                  <a:defRPr sz="1400" b="0" i="0">
                    <a:solidFill>
                      <a:srgbClr val="003087"/>
                    </a:solidFill>
                    <a:latin typeface="Univers for KPMG Light" panose="020B0403020202020204" pitchFamily="34" charset="0"/>
                    <a:cs typeface="Univers for KPMG" panose="020B0603020202020204" pitchFamily="34" charset="0"/>
                  </a:defRPr>
                </a:lvl3pPr>
                <a:lvl4pPr marL="623888" indent="-248400" algn="l" eaLnBrk="1" latinLnBrk="1" hangingPunct="1">
                  <a:spcAft>
                    <a:spcPts val="650"/>
                  </a:spcAft>
                  <a:buFont typeface="Univers for KPMG Light" panose="020B0403020202020204" pitchFamily="34" charset="0"/>
                  <a:buChar char="–"/>
                  <a:defRPr sz="1400" b="0" i="0" baseline="0">
                    <a:solidFill>
                      <a:srgbClr val="003087"/>
                    </a:solidFill>
                    <a:latin typeface="Univers for KPMG Light" panose="020B0403020202020204" pitchFamily="34" charset="0"/>
                    <a:cs typeface="Univers for KPMG" panose="020B0603020202020204" pitchFamily="34" charset="0"/>
                  </a:defRPr>
                </a:lvl4pPr>
                <a:lvl5pPr marL="982663" indent="-309563" algn="l" eaLnBrk="1" latinLnBrk="1" hangingPunct="1">
                  <a:spcAft>
                    <a:spcPts val="650"/>
                  </a:spcAft>
                  <a:buFont typeface="Univers for KPMG Light" panose="020B0403020202020204" pitchFamily="34" charset="0"/>
                  <a:buChar char="—"/>
                  <a:defRPr lang="en-US" sz="1400" b="0" i="0" dirty="0" smtClean="0">
                    <a:solidFill>
                      <a:srgbClr val="003087"/>
                    </a:solidFill>
                    <a:latin typeface="Univers for KPMG Light" panose="020B0403020202020204" pitchFamily="34" charset="0"/>
                    <a:cs typeface="Univers for KPMG" panose="020B0603020202020204" pitchFamily="34" charset="0"/>
                  </a:defRPr>
                </a:lvl5pPr>
                <a:lvl6pPr marL="1257300" indent="-247650" algn="l" eaLnBrk="1" latinLnBrk="1" hangingPunct="1">
                  <a:spcAft>
                    <a:spcPts val="650"/>
                  </a:spcAft>
                  <a:buFont typeface="Univers for KPMG Light" panose="020B0403020202020204" pitchFamily="34" charset="0"/>
                  <a:buChar char="-"/>
                  <a:defRPr lang="en-US" sz="1400" b="0" i="0" baseline="0" dirty="0" smtClean="0">
                    <a:solidFill>
                      <a:srgbClr val="003087"/>
                    </a:solidFill>
                    <a:latin typeface="Univers for KPMG Light" panose="020B0403020202020204" pitchFamily="34" charset="0"/>
                  </a:defRPr>
                </a:lvl6pPr>
                <a:lvl7pPr marL="1619250" indent="-309563" algn="l" eaLnBrk="1" latinLnBrk="1" hangingPunct="1">
                  <a:spcAft>
                    <a:spcPts val="650"/>
                  </a:spcAft>
                  <a:buFont typeface="Univers for KPMG Light" panose="020B0403020202020204" pitchFamily="34" charset="0"/>
                  <a:buChar char="—"/>
                  <a:defRPr lang="en-US" sz="1400" b="0" i="0" dirty="0" smtClean="0">
                    <a:solidFill>
                      <a:srgbClr val="003087"/>
                    </a:solidFill>
                    <a:latin typeface="Univers for KPMG Light" panose="020B0403020202020204" pitchFamily="34" charset="0"/>
                  </a:defRPr>
                </a:lvl7pPr>
                <a:lvl8pPr marL="1885950" indent="-247650" algn="l" eaLnBrk="1" latinLnBrk="1" hangingPunct="1">
                  <a:spcAft>
                    <a:spcPts val="650"/>
                  </a:spcAft>
                  <a:buFont typeface="Univers for KPMG Light" panose="020B0403020202020204" pitchFamily="34" charset="0"/>
                  <a:buChar char="-"/>
                  <a:defRPr lang="en-US" sz="1400" b="0" i="0" baseline="0" dirty="0" smtClean="0">
                    <a:solidFill>
                      <a:srgbClr val="003087"/>
                    </a:solidFill>
                    <a:latin typeface="Univers for KPMG Light" panose="020B0403020202020204" pitchFamily="34" charset="0"/>
                  </a:defRPr>
                </a:lvl8pPr>
              </a:lstStyle>
              <a:p>
                <a:pPr defTabSz="914400"/>
                <a:r>
                  <a:rPr lang="en-US" altLang="ko-KR" kern="0"/>
                  <a:t>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22516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DFFDD2F2-AA28-0EB3-D85A-5C437EFA4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MENDIX</a:t>
            </a:r>
            <a:endParaRPr lang="ko-KR" altLang="en-US" dirty="0"/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D4AB3DCC-06CB-4483-B347-53A947EF10C5}"/>
              </a:ext>
            </a:extLst>
          </p:cNvPr>
          <p:cNvGrpSpPr/>
          <p:nvPr/>
        </p:nvGrpSpPr>
        <p:grpSpPr>
          <a:xfrm>
            <a:off x="640630" y="2785900"/>
            <a:ext cx="2058168" cy="3091567"/>
            <a:chOff x="640630" y="2785358"/>
            <a:chExt cx="2058168" cy="3091567"/>
          </a:xfrm>
        </p:grpSpPr>
        <p:grpSp>
          <p:nvGrpSpPr>
            <p:cNvPr id="5" name="Group 6">
              <a:extLst>
                <a:ext uri="{FF2B5EF4-FFF2-40B4-BE49-F238E27FC236}">
                  <a16:creationId xmlns:a16="http://schemas.microsoft.com/office/drawing/2014/main" id="{F34B665C-5097-2DB7-27FF-7737F2902682}"/>
                </a:ext>
              </a:extLst>
            </p:cNvPr>
            <p:cNvGrpSpPr/>
            <p:nvPr/>
          </p:nvGrpSpPr>
          <p:grpSpPr>
            <a:xfrm>
              <a:off x="640630" y="3298560"/>
              <a:ext cx="2058168" cy="2578365"/>
              <a:chOff x="0" y="0"/>
              <a:chExt cx="1162540" cy="945277"/>
            </a:xfrm>
          </p:grpSpPr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AE2B0CFF-2E8E-13EE-18F8-ABB1E2D86415}"/>
                  </a:ext>
                </a:extLst>
              </p:cNvPr>
              <p:cNvSpPr/>
              <p:nvPr/>
            </p:nvSpPr>
            <p:spPr>
              <a:xfrm>
                <a:off x="0" y="0"/>
                <a:ext cx="1162540" cy="945277"/>
              </a:xfrm>
              <a:custGeom>
                <a:avLst/>
                <a:gdLst/>
                <a:ahLst/>
                <a:cxnLst/>
                <a:rect l="l" t="t" r="r" b="b"/>
                <a:pathLst>
                  <a:path w="1162540" h="945277">
                    <a:moveTo>
                      <a:pt x="0" y="0"/>
                    </a:moveTo>
                    <a:lnTo>
                      <a:pt x="1162540" y="0"/>
                    </a:lnTo>
                    <a:lnTo>
                      <a:pt x="1162540" y="945277"/>
                    </a:lnTo>
                    <a:lnTo>
                      <a:pt x="0" y="945277"/>
                    </a:lnTo>
                    <a:close/>
                  </a:path>
                </a:pathLst>
              </a:custGeom>
              <a:solidFill>
                <a:srgbClr val="F4F4F4"/>
              </a:solidFill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4" name="TextBox 8">
                <a:extLst>
                  <a:ext uri="{FF2B5EF4-FFF2-40B4-BE49-F238E27FC236}">
                    <a16:creationId xmlns:a16="http://schemas.microsoft.com/office/drawing/2014/main" id="{8C9F6827-F9F7-4374-0E7E-63B0CF05E5BB}"/>
                  </a:ext>
                </a:extLst>
              </p:cNvPr>
              <p:cNvSpPr txBox="1"/>
              <p:nvPr/>
            </p:nvSpPr>
            <p:spPr>
              <a:xfrm>
                <a:off x="0" y="-47625"/>
                <a:ext cx="1162540" cy="992902"/>
              </a:xfrm>
              <a:prstGeom prst="rect">
                <a:avLst/>
              </a:prstGeom>
            </p:spPr>
            <p:txBody>
              <a:bodyPr lIns="71403" tIns="71403" rIns="71403" bIns="71403" rtlCol="0" anchor="ctr"/>
              <a:lstStyle/>
              <a:p>
                <a:pPr algn="ctr">
                  <a:lnSpc>
                    <a:spcPts val="3671"/>
                  </a:lnSpc>
                </a:pPr>
                <a:endParaRPr/>
              </a:p>
            </p:txBody>
          </p:sp>
        </p:grpSp>
        <p:grpSp>
          <p:nvGrpSpPr>
            <p:cNvPr id="6" name="그룹 5">
              <a:extLst>
                <a:ext uri="{FF2B5EF4-FFF2-40B4-BE49-F238E27FC236}">
                  <a16:creationId xmlns:a16="http://schemas.microsoft.com/office/drawing/2014/main" id="{680CDB18-2541-6176-AFC0-B782F1024C2E}"/>
                </a:ext>
              </a:extLst>
            </p:cNvPr>
            <p:cNvGrpSpPr/>
            <p:nvPr/>
          </p:nvGrpSpPr>
          <p:grpSpPr>
            <a:xfrm>
              <a:off x="1105193" y="2785358"/>
              <a:ext cx="1129042" cy="1026402"/>
              <a:chOff x="1105193" y="2686743"/>
              <a:chExt cx="1129042" cy="1026402"/>
            </a:xfrm>
          </p:grpSpPr>
          <p:grpSp>
            <p:nvGrpSpPr>
              <p:cNvPr id="9" name="Group 2">
                <a:extLst>
                  <a:ext uri="{FF2B5EF4-FFF2-40B4-BE49-F238E27FC236}">
                    <a16:creationId xmlns:a16="http://schemas.microsoft.com/office/drawing/2014/main" id="{51DE01B0-77E0-A66D-5CE8-DE39870F4806}"/>
                  </a:ext>
                </a:extLst>
              </p:cNvPr>
              <p:cNvGrpSpPr/>
              <p:nvPr/>
            </p:nvGrpSpPr>
            <p:grpSpPr>
              <a:xfrm>
                <a:off x="1105193" y="2686743"/>
                <a:ext cx="1129042" cy="1026402"/>
                <a:chOff x="0" y="0"/>
                <a:chExt cx="6350000" cy="6350000"/>
              </a:xfrm>
            </p:grpSpPr>
            <p:sp>
              <p:nvSpPr>
                <p:cNvPr id="12" name="Freeform 3">
                  <a:extLst>
                    <a:ext uri="{FF2B5EF4-FFF2-40B4-BE49-F238E27FC236}">
                      <a16:creationId xmlns:a16="http://schemas.microsoft.com/office/drawing/2014/main" id="{5BDD5328-95DE-71A9-42F1-031B664D57AB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6350000" cy="635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00" h="6350000">
                      <a:moveTo>
                        <a:pt x="3175000" y="0"/>
                      </a:moveTo>
                      <a:cubicBezTo>
                        <a:pt x="1421496" y="0"/>
                        <a:pt x="0" y="1421496"/>
                        <a:pt x="0" y="3175000"/>
                      </a:cubicBezTo>
                      <a:cubicBezTo>
                        <a:pt x="0" y="4928504"/>
                        <a:pt x="1421496" y="6350000"/>
                        <a:pt x="3175000" y="6350000"/>
                      </a:cubicBezTo>
                      <a:cubicBezTo>
                        <a:pt x="4928504" y="6350000"/>
                        <a:pt x="6350000" y="4928504"/>
                        <a:pt x="6350000" y="3175000"/>
                      </a:cubicBezTo>
                      <a:cubicBezTo>
                        <a:pt x="6350000" y="1421496"/>
                        <a:pt x="4928504" y="0"/>
                        <a:pt x="3175000" y="0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</p:spPr>
              <p:txBody>
                <a:bodyPr/>
                <a:lstStyle/>
                <a:p>
                  <a:endParaRPr lang="ko-KR" altLang="en-US"/>
                </a:p>
              </p:txBody>
            </p:sp>
          </p:grpSp>
          <p:grpSp>
            <p:nvGrpSpPr>
              <p:cNvPr id="10" name="Group 12">
                <a:extLst>
                  <a:ext uri="{FF2B5EF4-FFF2-40B4-BE49-F238E27FC236}">
                    <a16:creationId xmlns:a16="http://schemas.microsoft.com/office/drawing/2014/main" id="{6F90F37B-205A-82DB-2939-5182019C5810}"/>
                  </a:ext>
                </a:extLst>
              </p:cNvPr>
              <p:cNvGrpSpPr/>
              <p:nvPr/>
            </p:nvGrpSpPr>
            <p:grpSpPr>
              <a:xfrm>
                <a:off x="1205594" y="2778019"/>
                <a:ext cx="928240" cy="843851"/>
                <a:chOff x="0" y="0"/>
                <a:chExt cx="6350000" cy="6349975"/>
              </a:xfrm>
            </p:grpSpPr>
            <p:sp>
              <p:nvSpPr>
                <p:cNvPr id="11" name="Freeform 13">
                  <a:extLst>
                    <a:ext uri="{FF2B5EF4-FFF2-40B4-BE49-F238E27FC236}">
                      <a16:creationId xmlns:a16="http://schemas.microsoft.com/office/drawing/2014/main" id="{541E5BA1-8F02-A10F-E054-6A054EDD0189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6350000" cy="6349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00" h="6349975">
                      <a:moveTo>
                        <a:pt x="6350000" y="3175025"/>
                      </a:moveTo>
                      <a:cubicBezTo>
                        <a:pt x="6350000" y="4928451"/>
                        <a:pt x="4928476" y="6349975"/>
                        <a:pt x="3175000" y="6349975"/>
                      </a:cubicBezTo>
                      <a:cubicBezTo>
                        <a:pt x="1421498" y="6349975"/>
                        <a:pt x="0" y="4928451"/>
                        <a:pt x="0" y="3175025"/>
                      </a:cubicBezTo>
                      <a:cubicBezTo>
                        <a:pt x="0" y="1421511"/>
                        <a:pt x="1421498" y="0"/>
                        <a:pt x="3175000" y="0"/>
                      </a:cubicBezTo>
                      <a:cubicBezTo>
                        <a:pt x="4928502" y="0"/>
                        <a:pt x="6350000" y="1421511"/>
                        <a:pt x="6350000" y="3175025"/>
                      </a:cubicBezTo>
                      <a:close/>
                    </a:path>
                  </a:pathLst>
                </a:custGeom>
                <a:blipFill>
                  <a:blip r:embed="rId2"/>
                  <a:stretch>
                    <a:fillRect l="-25046" r="-25046"/>
                  </a:stretch>
                </a:blip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ko-KR" altLang="en-US"/>
                </a:p>
              </p:txBody>
            </p:sp>
          </p:grpSp>
        </p:grpSp>
        <p:sp>
          <p:nvSpPr>
            <p:cNvPr id="7" name="TextBox 27">
              <a:extLst>
                <a:ext uri="{FF2B5EF4-FFF2-40B4-BE49-F238E27FC236}">
                  <a16:creationId xmlns:a16="http://schemas.microsoft.com/office/drawing/2014/main" id="{D081ED2E-70C4-E405-329C-6A26BE38D223}"/>
                </a:ext>
              </a:extLst>
            </p:cNvPr>
            <p:cNvSpPr txBox="1"/>
            <p:nvPr/>
          </p:nvSpPr>
          <p:spPr>
            <a:xfrm>
              <a:off x="715714" y="4253899"/>
              <a:ext cx="1908000" cy="107459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285750" indent="-180000">
                <a:lnSpc>
                  <a:spcPts val="1700"/>
                </a:lnSpc>
                <a:spcBef>
                  <a:spcPct val="0"/>
                </a:spcBef>
                <a:buFont typeface="Wingdings" panose="05000000000000000000" pitchFamily="2" charset="2"/>
                <a:buChar char="§"/>
              </a:pPr>
              <a:r>
                <a:rPr lang="en-US" altLang="ko-KR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Drag &amp; Drop </a:t>
              </a:r>
              <a:r>
                <a:rPr lang="ko-KR" altLang="ko-KR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방식으로</a:t>
              </a:r>
              <a:r>
                <a:rPr lang="en-US" altLang="ko-KR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 </a:t>
              </a:r>
              <a:br>
                <a:rPr lang="en-US" altLang="ko-KR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</a:br>
              <a:r>
                <a:rPr lang="ko-KR" altLang="ko-KR" sz="1100" kern="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굴림" panose="020B0600000101010101" pitchFamily="50" charset="-127"/>
                </a:rPr>
                <a:t>시각적 개발 환경을 통해 </a:t>
              </a:r>
              <a:br>
                <a:rPr lang="en-US" altLang="ko-KR" sz="1100" kern="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굴림" panose="020B0600000101010101" pitchFamily="50" charset="-127"/>
                </a:rPr>
              </a:br>
              <a:r>
                <a:rPr lang="ko-KR" altLang="en-US" sz="1100" kern="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굴림" panose="020B0600000101010101" pitchFamily="50" charset="-127"/>
                </a:rPr>
                <a:t>앱</a:t>
              </a:r>
              <a:r>
                <a:rPr lang="ko-KR" altLang="ko-KR" sz="1100" kern="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굴림" panose="020B0600000101010101" pitchFamily="50" charset="-127"/>
                </a:rPr>
                <a:t> </a:t>
              </a:r>
              <a:r>
                <a:rPr lang="ko-KR" altLang="ko-KR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개발 기간을 단축</a:t>
              </a:r>
              <a:endParaRPr lang="en-US" altLang="ko-KR" sz="110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Times New Roman" panose="02020603050405020304" pitchFamily="18" charset="0"/>
              </a:endParaRPr>
            </a:p>
            <a:p>
              <a:pPr marL="285750" indent="-180000">
                <a:lnSpc>
                  <a:spcPts val="1700"/>
                </a:lnSpc>
                <a:spcBef>
                  <a:spcPct val="0"/>
                </a:spcBef>
                <a:buFont typeface="Wingdings" panose="05000000000000000000" pitchFamily="2" charset="2"/>
                <a:buChar char="§"/>
              </a:pPr>
              <a:r>
                <a:rPr lang="ko-KR" altLang="ko-KR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개발시간 단축으로 인한 </a:t>
              </a:r>
              <a:br>
                <a:rPr lang="en-US" altLang="ko-KR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</a:br>
              <a:r>
                <a:rPr lang="ko-KR" altLang="ko-KR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개발비 절감</a:t>
              </a:r>
              <a:endParaRPr lang="en-US" sz="1100" spc="-95" dirty="0">
                <a:solidFill>
                  <a:srgbClr val="00000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endParaRPr>
            </a:p>
          </p:txBody>
        </p:sp>
        <p:sp>
          <p:nvSpPr>
            <p:cNvPr id="8" name="TextBox 29">
              <a:extLst>
                <a:ext uri="{FF2B5EF4-FFF2-40B4-BE49-F238E27FC236}">
                  <a16:creationId xmlns:a16="http://schemas.microsoft.com/office/drawing/2014/main" id="{FCA1A56C-2362-CA1B-F99B-421FD0800103}"/>
                </a:ext>
              </a:extLst>
            </p:cNvPr>
            <p:cNvSpPr txBox="1"/>
            <p:nvPr/>
          </p:nvSpPr>
          <p:spPr>
            <a:xfrm>
              <a:off x="859714" y="3894042"/>
              <a:ext cx="1620000" cy="276999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ko-KR" altLang="en-US" b="1" spc="-184" dirty="0">
                  <a:solidFill>
                    <a:srgbClr val="000000"/>
                  </a:solidFill>
                  <a:latin typeface="나눔스퀘어 네오 Bold" panose="00000800000000000000" pitchFamily="2" charset="-127"/>
                  <a:ea typeface="나눔스퀘어 네오 Bold" panose="00000800000000000000" pitchFamily="2" charset="-127"/>
                  <a:cs typeface="Source Han Sans KR Medium"/>
                  <a:sym typeface="Source Han Sans KR Medium"/>
                </a:rPr>
                <a:t>생산성 향상</a:t>
              </a:r>
              <a:endParaRPr lang="en-US" b="1" spc="-184" dirty="0">
                <a:solidFill>
                  <a:srgbClr val="000000"/>
                </a:solidFill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endParaRPr>
            </a:p>
          </p:txBody>
        </p:sp>
      </p:grpSp>
      <p:sp>
        <p:nvSpPr>
          <p:cNvPr id="15" name="TextBox 33">
            <a:extLst>
              <a:ext uri="{FF2B5EF4-FFF2-40B4-BE49-F238E27FC236}">
                <a16:creationId xmlns:a16="http://schemas.microsoft.com/office/drawing/2014/main" id="{5A4480C4-EDE5-1E49-0CE5-B6BBDD291CB1}"/>
              </a:ext>
            </a:extLst>
          </p:cNvPr>
          <p:cNvSpPr txBox="1"/>
          <p:nvPr/>
        </p:nvSpPr>
        <p:spPr>
          <a:xfrm>
            <a:off x="1595119" y="1543653"/>
            <a:ext cx="6849115" cy="2629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739"/>
              </a:lnSpc>
            </a:pPr>
            <a:endParaRPr lang="en-US" altLang="ko-KR" sz="2800" spc="-109" dirty="0">
              <a:solidFill>
                <a:srgbClr val="0C233C"/>
              </a:solidFill>
              <a:latin typeface="나눔스퀘어 네오 Bold" panose="00000800000000000000" pitchFamily="2" charset="-127"/>
              <a:ea typeface="나눔스퀘어 네오 Bold" panose="00000800000000000000" pitchFamily="2" charset="-127"/>
              <a:cs typeface="Source Han Sans KR Medium"/>
              <a:sym typeface="Source Han Sans KR Medium"/>
            </a:endParaRPr>
          </a:p>
        </p:txBody>
      </p:sp>
      <p:sp>
        <p:nvSpPr>
          <p:cNvPr id="16" name="Freeform 34">
            <a:extLst>
              <a:ext uri="{FF2B5EF4-FFF2-40B4-BE49-F238E27FC236}">
                <a16:creationId xmlns:a16="http://schemas.microsoft.com/office/drawing/2014/main" id="{2EC96EEA-509D-FE0C-16FF-94E33E21DD41}"/>
              </a:ext>
            </a:extLst>
          </p:cNvPr>
          <p:cNvSpPr/>
          <p:nvPr/>
        </p:nvSpPr>
        <p:spPr>
          <a:xfrm rot="16200000">
            <a:off x="4889975" y="2027053"/>
            <a:ext cx="126051" cy="230135"/>
          </a:xfrm>
          <a:custGeom>
            <a:avLst/>
            <a:gdLst/>
            <a:ahLst/>
            <a:cxnLst/>
            <a:rect l="l" t="t" r="r" b="b"/>
            <a:pathLst>
              <a:path w="203006" h="336940">
                <a:moveTo>
                  <a:pt x="0" y="0"/>
                </a:moveTo>
                <a:lnTo>
                  <a:pt x="203006" y="0"/>
                </a:lnTo>
                <a:lnTo>
                  <a:pt x="203006" y="336941"/>
                </a:lnTo>
                <a:lnTo>
                  <a:pt x="0" y="336941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ko-KR" altLang="en-US"/>
          </a:p>
        </p:txBody>
      </p:sp>
      <p:sp>
        <p:nvSpPr>
          <p:cNvPr id="17" name="내용 개체 틀 92">
            <a:extLst>
              <a:ext uri="{FF2B5EF4-FFF2-40B4-BE49-F238E27FC236}">
                <a16:creationId xmlns:a16="http://schemas.microsoft.com/office/drawing/2014/main" id="{7BC8B0B1-9E68-5E98-A3C5-B62BD0F3C68B}"/>
              </a:ext>
            </a:extLst>
          </p:cNvPr>
          <p:cNvSpPr txBox="1">
            <a:spLocks/>
          </p:cNvSpPr>
          <p:nvPr/>
        </p:nvSpPr>
        <p:spPr>
          <a:xfrm>
            <a:off x="1364069" y="1360679"/>
            <a:ext cx="7177862" cy="344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indent="0" eaLnBrk="1" latinLnBrk="1" hangingPunct="1">
              <a:lnSpc>
                <a:spcPct val="150000"/>
              </a:lnSpc>
              <a:spcAft>
                <a:spcPts val="650"/>
              </a:spcAft>
              <a:buFontTx/>
              <a:buNone/>
              <a:defRPr lang="ko-KR" altLang="en-US" sz="1400" b="0" i="0" baseline="0" smtClean="0">
                <a:solidFill>
                  <a:schemeClr val="tx1"/>
                </a:solidFill>
                <a:latin typeface="Outfit" pitchFamily="2" charset="0"/>
                <a:ea typeface="나눔스퀘어 네오 Regular" panose="00000500000000000000" pitchFamily="2" charset="-127"/>
                <a:cs typeface="+mj-cs"/>
              </a:defRPr>
            </a:lvl1pPr>
            <a:lvl2pPr marL="185738" indent="0" eaLnBrk="1" latinLnBrk="1" hangingPunct="1">
              <a:spcAft>
                <a:spcPts val="650"/>
              </a:spcAft>
              <a:buFontTx/>
              <a:buNone/>
              <a:defRPr lang="ko-KR" altLang="en-US" sz="2000" b="1" i="0" smtClean="0">
                <a:solidFill>
                  <a:srgbClr val="003087"/>
                </a:solidFill>
                <a:latin typeface="맑은 고딕" pitchFamily="50" charset="-127"/>
                <a:ea typeface="맑은 고딕" pitchFamily="50" charset="-127"/>
                <a:cs typeface="Univers for KPMG" panose="020B0603020202020204" pitchFamily="34" charset="0"/>
              </a:defRPr>
            </a:lvl2pPr>
            <a:lvl3pPr marL="452437" indent="0" algn="l" eaLnBrk="1" latinLnBrk="1" hangingPunct="1">
              <a:spcAft>
                <a:spcPts val="650"/>
              </a:spcAft>
              <a:buFontTx/>
              <a:buNone/>
              <a:defRPr lang="ko-KR" altLang="en-US" sz="2000" b="1" i="0" smtClean="0">
                <a:solidFill>
                  <a:srgbClr val="003087"/>
                </a:solidFill>
                <a:latin typeface="맑은 고딕" pitchFamily="50" charset="-127"/>
                <a:ea typeface="맑은 고딕" pitchFamily="50" charset="-127"/>
                <a:cs typeface="Univers for KPMG" panose="020B0603020202020204" pitchFamily="34" charset="0"/>
              </a:defRPr>
            </a:lvl3pPr>
            <a:lvl4pPr marL="623887" indent="0" algn="l" eaLnBrk="1" latinLnBrk="1" hangingPunct="1">
              <a:spcAft>
                <a:spcPts val="650"/>
              </a:spcAft>
              <a:buFontTx/>
              <a:buNone/>
              <a:defRPr lang="ko-KR" altLang="en-US" sz="2000" b="1" i="0" baseline="0" smtClean="0">
                <a:solidFill>
                  <a:srgbClr val="003087"/>
                </a:solidFill>
                <a:latin typeface="맑은 고딕" pitchFamily="50" charset="-127"/>
                <a:ea typeface="맑은 고딕" pitchFamily="50" charset="-127"/>
                <a:cs typeface="Univers for KPMG" panose="020B0603020202020204" pitchFamily="34" charset="0"/>
              </a:defRPr>
            </a:lvl4pPr>
            <a:lvl5pPr marL="811212" indent="0" algn="l" eaLnBrk="1" latinLnBrk="1" hangingPunct="1">
              <a:spcAft>
                <a:spcPts val="650"/>
              </a:spcAft>
              <a:buFontTx/>
              <a:buNone/>
              <a:defRPr lang="ko-KR" altLang="en-US" sz="2000" b="1" i="0">
                <a:solidFill>
                  <a:srgbClr val="003087"/>
                </a:solidFill>
                <a:latin typeface="맑은 고딕" pitchFamily="50" charset="-127"/>
                <a:ea typeface="맑은 고딕" pitchFamily="50" charset="-127"/>
                <a:cs typeface="Univers for KPMG" panose="020B0603020202020204" pitchFamily="34" charset="0"/>
              </a:defRPr>
            </a:lvl5pPr>
            <a:lvl6pPr marL="1257300" indent="-247650" algn="l" eaLnBrk="1" latinLnBrk="1" hangingPunct="1">
              <a:spcAft>
                <a:spcPts val="650"/>
              </a:spcAft>
              <a:buFont typeface="Univers for KPMG Light" panose="020B0403020202020204" pitchFamily="34" charset="0"/>
              <a:buChar char="-"/>
              <a:defRPr lang="en-US" sz="1400" b="0" i="0" baseline="0" dirty="0" smtClean="0">
                <a:solidFill>
                  <a:srgbClr val="003087"/>
                </a:solidFill>
                <a:latin typeface="Univers for KPMG Light" panose="020B0403020202020204" pitchFamily="34" charset="0"/>
              </a:defRPr>
            </a:lvl6pPr>
            <a:lvl7pPr marL="1619250" indent="-309563" algn="l" eaLnBrk="1" latinLnBrk="1" hangingPunct="1">
              <a:spcAft>
                <a:spcPts val="650"/>
              </a:spcAft>
              <a:buFont typeface="Univers for KPMG Light" panose="020B0403020202020204" pitchFamily="34" charset="0"/>
              <a:buChar char="—"/>
              <a:defRPr lang="en-US" sz="1400" b="0" i="0" dirty="0" smtClean="0">
                <a:solidFill>
                  <a:srgbClr val="003087"/>
                </a:solidFill>
                <a:latin typeface="Univers for KPMG Light" panose="020B0403020202020204" pitchFamily="34" charset="0"/>
              </a:defRPr>
            </a:lvl7pPr>
            <a:lvl8pPr marL="1885950" indent="-247650" algn="l" eaLnBrk="1" latinLnBrk="1" hangingPunct="1">
              <a:spcAft>
                <a:spcPts val="650"/>
              </a:spcAft>
              <a:buFont typeface="Univers for KPMG Light" panose="020B0403020202020204" pitchFamily="34" charset="0"/>
              <a:buChar char="-"/>
              <a:defRPr lang="en-US" sz="1400" b="0" i="0" baseline="0" dirty="0" smtClean="0">
                <a:solidFill>
                  <a:srgbClr val="003087"/>
                </a:solidFill>
                <a:latin typeface="Univers for KPMG Light" panose="020B0403020202020204" pitchFamily="34" charset="0"/>
              </a:defRPr>
            </a:lvl8pPr>
          </a:lstStyle>
          <a:p>
            <a:pPr algn="ctr" defTabSz="914400">
              <a:lnSpc>
                <a:spcPct val="100000"/>
              </a:lnSpc>
            </a:pPr>
            <a:r>
              <a:rPr lang="en-US" altLang="ko-KR" sz="2000" kern="0" spc="-109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Mendix </a:t>
            </a:r>
            <a:r>
              <a:rPr lang="ko-KR" altLang="en-US" sz="2000" kern="0" spc="-109" dirty="0" err="1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로우코드</a:t>
            </a:r>
            <a:r>
              <a:rPr lang="ko-KR" altLang="en-US" sz="2000" kern="0" spc="-109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 플랫폼으로 더 빠르고</a:t>
            </a:r>
            <a:r>
              <a:rPr lang="en-US" altLang="ko-KR" sz="2000" kern="0" spc="-109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, </a:t>
            </a:r>
            <a:r>
              <a:rPr lang="ko-KR" altLang="en-US" sz="2000" kern="0" spc="-109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더 스마트하게</a:t>
            </a:r>
            <a:r>
              <a:rPr lang="en-US" altLang="ko-KR" sz="2000" kern="0" spc="-109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, </a:t>
            </a:r>
            <a:r>
              <a:rPr lang="ko-KR" altLang="en-US" sz="2000" kern="0" spc="-109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더 효율적으로</a:t>
            </a:r>
            <a:r>
              <a:rPr lang="en-US" altLang="ko-KR" sz="2000" kern="0" spc="-109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!</a:t>
            </a:r>
          </a:p>
        </p:txBody>
      </p: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06B506D1-5447-E666-B374-1FBF9D2F9F79}"/>
              </a:ext>
            </a:extLst>
          </p:cNvPr>
          <p:cNvGrpSpPr/>
          <p:nvPr/>
        </p:nvGrpSpPr>
        <p:grpSpPr>
          <a:xfrm>
            <a:off x="2833285" y="2785900"/>
            <a:ext cx="2058168" cy="3091567"/>
            <a:chOff x="2774865" y="2785358"/>
            <a:chExt cx="2058168" cy="3091567"/>
          </a:xfrm>
        </p:grpSpPr>
        <p:grpSp>
          <p:nvGrpSpPr>
            <p:cNvPr id="19" name="Group 6">
              <a:extLst>
                <a:ext uri="{FF2B5EF4-FFF2-40B4-BE49-F238E27FC236}">
                  <a16:creationId xmlns:a16="http://schemas.microsoft.com/office/drawing/2014/main" id="{87135017-F84C-B99B-BE65-5551D3899C2B}"/>
                </a:ext>
              </a:extLst>
            </p:cNvPr>
            <p:cNvGrpSpPr/>
            <p:nvPr/>
          </p:nvGrpSpPr>
          <p:grpSpPr>
            <a:xfrm>
              <a:off x="2774865" y="3298560"/>
              <a:ext cx="2058168" cy="2578365"/>
              <a:chOff x="0" y="0"/>
              <a:chExt cx="1162540" cy="945277"/>
            </a:xfrm>
          </p:grpSpPr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417EAD91-17D4-271D-74E2-468F01BD1A53}"/>
                  </a:ext>
                </a:extLst>
              </p:cNvPr>
              <p:cNvSpPr/>
              <p:nvPr/>
            </p:nvSpPr>
            <p:spPr>
              <a:xfrm>
                <a:off x="0" y="0"/>
                <a:ext cx="1162540" cy="945277"/>
              </a:xfrm>
              <a:custGeom>
                <a:avLst/>
                <a:gdLst/>
                <a:ahLst/>
                <a:cxnLst/>
                <a:rect l="l" t="t" r="r" b="b"/>
                <a:pathLst>
                  <a:path w="1162540" h="945277">
                    <a:moveTo>
                      <a:pt x="0" y="0"/>
                    </a:moveTo>
                    <a:lnTo>
                      <a:pt x="1162540" y="0"/>
                    </a:lnTo>
                    <a:lnTo>
                      <a:pt x="1162540" y="945277"/>
                    </a:lnTo>
                    <a:lnTo>
                      <a:pt x="0" y="945277"/>
                    </a:lnTo>
                    <a:close/>
                  </a:path>
                </a:pathLst>
              </a:custGeom>
              <a:solidFill>
                <a:srgbClr val="F4F4F4"/>
              </a:solidFill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28" name="TextBox 8">
                <a:extLst>
                  <a:ext uri="{FF2B5EF4-FFF2-40B4-BE49-F238E27FC236}">
                    <a16:creationId xmlns:a16="http://schemas.microsoft.com/office/drawing/2014/main" id="{10AC8E8F-9971-117D-B9BE-E63E9B15B513}"/>
                  </a:ext>
                </a:extLst>
              </p:cNvPr>
              <p:cNvSpPr txBox="1"/>
              <p:nvPr/>
            </p:nvSpPr>
            <p:spPr>
              <a:xfrm>
                <a:off x="0" y="-47625"/>
                <a:ext cx="1162540" cy="992902"/>
              </a:xfrm>
              <a:prstGeom prst="rect">
                <a:avLst/>
              </a:prstGeom>
            </p:spPr>
            <p:txBody>
              <a:bodyPr lIns="71403" tIns="71403" rIns="71403" bIns="71403" rtlCol="0" anchor="ctr"/>
              <a:lstStyle/>
              <a:p>
                <a:pPr algn="ctr">
                  <a:lnSpc>
                    <a:spcPts val="3671"/>
                  </a:lnSpc>
                </a:pPr>
                <a:endParaRPr/>
              </a:p>
            </p:txBody>
          </p:sp>
        </p:grpSp>
        <p:grpSp>
          <p:nvGrpSpPr>
            <p:cNvPr id="20" name="그룹 19">
              <a:extLst>
                <a:ext uri="{FF2B5EF4-FFF2-40B4-BE49-F238E27FC236}">
                  <a16:creationId xmlns:a16="http://schemas.microsoft.com/office/drawing/2014/main" id="{1A2810AF-F5A2-ACC6-3AAB-702D4C17B113}"/>
                </a:ext>
              </a:extLst>
            </p:cNvPr>
            <p:cNvGrpSpPr/>
            <p:nvPr/>
          </p:nvGrpSpPr>
          <p:grpSpPr>
            <a:xfrm>
              <a:off x="3239428" y="2785358"/>
              <a:ext cx="1129042" cy="1026402"/>
              <a:chOff x="3239428" y="2686743"/>
              <a:chExt cx="1129042" cy="1026402"/>
            </a:xfrm>
          </p:grpSpPr>
          <p:grpSp>
            <p:nvGrpSpPr>
              <p:cNvPr id="23" name="Group 2">
                <a:extLst>
                  <a:ext uri="{FF2B5EF4-FFF2-40B4-BE49-F238E27FC236}">
                    <a16:creationId xmlns:a16="http://schemas.microsoft.com/office/drawing/2014/main" id="{206E5EB1-FAE9-1703-78CF-7C988ED75BF8}"/>
                  </a:ext>
                </a:extLst>
              </p:cNvPr>
              <p:cNvGrpSpPr/>
              <p:nvPr/>
            </p:nvGrpSpPr>
            <p:grpSpPr>
              <a:xfrm>
                <a:off x="3239428" y="2686743"/>
                <a:ext cx="1129042" cy="1026402"/>
                <a:chOff x="0" y="0"/>
                <a:chExt cx="6350000" cy="6350000"/>
              </a:xfrm>
            </p:grpSpPr>
            <p:sp>
              <p:nvSpPr>
                <p:cNvPr id="26" name="Freeform 3">
                  <a:extLst>
                    <a:ext uri="{FF2B5EF4-FFF2-40B4-BE49-F238E27FC236}">
                      <a16:creationId xmlns:a16="http://schemas.microsoft.com/office/drawing/2014/main" id="{515ECEA6-E59F-4DD0-A40B-3F5BC3D573DF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6350000" cy="635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00" h="6350000">
                      <a:moveTo>
                        <a:pt x="3175000" y="0"/>
                      </a:moveTo>
                      <a:cubicBezTo>
                        <a:pt x="1421496" y="0"/>
                        <a:pt x="0" y="1421496"/>
                        <a:pt x="0" y="3175000"/>
                      </a:cubicBezTo>
                      <a:cubicBezTo>
                        <a:pt x="0" y="4928504"/>
                        <a:pt x="1421496" y="6350000"/>
                        <a:pt x="3175000" y="6350000"/>
                      </a:cubicBezTo>
                      <a:cubicBezTo>
                        <a:pt x="4928504" y="6350000"/>
                        <a:pt x="6350000" y="4928504"/>
                        <a:pt x="6350000" y="3175000"/>
                      </a:cubicBezTo>
                      <a:cubicBezTo>
                        <a:pt x="6350000" y="1421496"/>
                        <a:pt x="4928504" y="0"/>
                        <a:pt x="3175000" y="0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</p:spPr>
              <p:txBody>
                <a:bodyPr/>
                <a:lstStyle/>
                <a:p>
                  <a:endParaRPr lang="ko-KR" altLang="en-US"/>
                </a:p>
              </p:txBody>
            </p:sp>
          </p:grpSp>
          <p:grpSp>
            <p:nvGrpSpPr>
              <p:cNvPr id="24" name="Group 12">
                <a:extLst>
                  <a:ext uri="{FF2B5EF4-FFF2-40B4-BE49-F238E27FC236}">
                    <a16:creationId xmlns:a16="http://schemas.microsoft.com/office/drawing/2014/main" id="{4344F477-94CE-AEC0-9161-D74AAE0E877E}"/>
                  </a:ext>
                </a:extLst>
              </p:cNvPr>
              <p:cNvGrpSpPr/>
              <p:nvPr/>
            </p:nvGrpSpPr>
            <p:grpSpPr>
              <a:xfrm>
                <a:off x="3339829" y="2778018"/>
                <a:ext cx="928240" cy="843851"/>
                <a:chOff x="0" y="0"/>
                <a:chExt cx="6350000" cy="6349975"/>
              </a:xfrm>
            </p:grpSpPr>
            <p:sp>
              <p:nvSpPr>
                <p:cNvPr id="25" name="Freeform 13">
                  <a:extLst>
                    <a:ext uri="{FF2B5EF4-FFF2-40B4-BE49-F238E27FC236}">
                      <a16:creationId xmlns:a16="http://schemas.microsoft.com/office/drawing/2014/main" id="{6909BA1B-785D-CE57-DF70-2DD747A83E06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6350000" cy="6349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00" h="6349975">
                      <a:moveTo>
                        <a:pt x="6350000" y="3175025"/>
                      </a:moveTo>
                      <a:cubicBezTo>
                        <a:pt x="6350000" y="4928451"/>
                        <a:pt x="4928476" y="6349975"/>
                        <a:pt x="3175000" y="6349975"/>
                      </a:cubicBezTo>
                      <a:cubicBezTo>
                        <a:pt x="1421498" y="6349975"/>
                        <a:pt x="0" y="4928451"/>
                        <a:pt x="0" y="3175025"/>
                      </a:cubicBezTo>
                      <a:cubicBezTo>
                        <a:pt x="0" y="1421511"/>
                        <a:pt x="1421498" y="0"/>
                        <a:pt x="3175000" y="0"/>
                      </a:cubicBezTo>
                      <a:cubicBezTo>
                        <a:pt x="4928502" y="0"/>
                        <a:pt x="6350000" y="1421511"/>
                        <a:pt x="6350000" y="3175025"/>
                      </a:cubicBezTo>
                      <a:close/>
                    </a:path>
                  </a:pathLst>
                </a:custGeom>
                <a:blipFill>
                  <a:blip r:embed="rId2"/>
                  <a:stretch>
                    <a:fillRect l="-25046" r="-25046"/>
                  </a:stretch>
                </a:blip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ko-KR" altLang="en-US"/>
                </a:p>
              </p:txBody>
            </p:sp>
          </p:grpSp>
        </p:grpSp>
        <p:sp>
          <p:nvSpPr>
            <p:cNvPr id="21" name="TextBox 27">
              <a:extLst>
                <a:ext uri="{FF2B5EF4-FFF2-40B4-BE49-F238E27FC236}">
                  <a16:creationId xmlns:a16="http://schemas.microsoft.com/office/drawing/2014/main" id="{56254565-9BB0-4AF4-2A56-6AC842E45CF8}"/>
                </a:ext>
              </a:extLst>
            </p:cNvPr>
            <p:cNvSpPr txBox="1"/>
            <p:nvPr/>
          </p:nvSpPr>
          <p:spPr>
            <a:xfrm>
              <a:off x="2849949" y="4253899"/>
              <a:ext cx="1908000" cy="129259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285750" indent="-180000">
                <a:lnSpc>
                  <a:spcPts val="1700"/>
                </a:lnSpc>
                <a:spcBef>
                  <a:spcPct val="0"/>
                </a:spcBef>
                <a:buFont typeface="Wingdings" panose="05000000000000000000" pitchFamily="2" charset="2"/>
                <a:buChar char="§"/>
              </a:pPr>
              <a:r>
                <a:rPr lang="ko-KR" altLang="en-US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다양한 비즈니스 관계자의</a:t>
              </a:r>
              <a:br>
                <a:rPr lang="en-US" altLang="ko-KR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</a:br>
              <a:r>
                <a:rPr lang="ko-KR" altLang="en-US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협업을 지원하여 개발 효율</a:t>
              </a:r>
              <a:br>
                <a:rPr lang="en-US" altLang="ko-KR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</a:br>
              <a:r>
                <a:rPr lang="ko-KR" altLang="en-US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성 향상</a:t>
              </a:r>
              <a:endParaRPr lang="en-US" altLang="ko-KR" sz="110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Times New Roman" panose="02020603050405020304" pitchFamily="18" charset="0"/>
              </a:endParaRPr>
            </a:p>
            <a:p>
              <a:pPr marL="285750" indent="-180000">
                <a:lnSpc>
                  <a:spcPts val="1700"/>
                </a:lnSpc>
                <a:spcBef>
                  <a:spcPct val="0"/>
                </a:spcBef>
                <a:buFont typeface="Wingdings" panose="05000000000000000000" pitchFamily="2" charset="2"/>
                <a:buChar char="§"/>
              </a:pPr>
              <a:r>
                <a:rPr lang="ko-KR" altLang="en-US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비즈니스 사용자를 쉽고</a:t>
              </a:r>
              <a:br>
                <a:rPr lang="en-US" altLang="ko-KR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</a:br>
              <a:r>
                <a:rPr lang="ko-KR" altLang="en-US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편리하게 개발 프로세스에</a:t>
              </a:r>
              <a:br>
                <a:rPr lang="en-US" altLang="ko-KR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</a:br>
              <a:r>
                <a:rPr lang="ko-KR" altLang="en-US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도입하여 인력비용 절감</a:t>
              </a:r>
              <a:endParaRPr lang="en-US" sz="1100" spc="-95" dirty="0">
                <a:solidFill>
                  <a:srgbClr val="00000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endParaRPr>
            </a:p>
          </p:txBody>
        </p:sp>
        <p:sp>
          <p:nvSpPr>
            <p:cNvPr id="22" name="TextBox 29">
              <a:extLst>
                <a:ext uri="{FF2B5EF4-FFF2-40B4-BE49-F238E27FC236}">
                  <a16:creationId xmlns:a16="http://schemas.microsoft.com/office/drawing/2014/main" id="{4C1B4285-E915-BEFE-EDA1-C2E5DD1B81D1}"/>
                </a:ext>
              </a:extLst>
            </p:cNvPr>
            <p:cNvSpPr txBox="1"/>
            <p:nvPr/>
          </p:nvSpPr>
          <p:spPr>
            <a:xfrm>
              <a:off x="2993949" y="3894042"/>
              <a:ext cx="1620000" cy="276999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ko-KR" altLang="en-US" b="1" spc="-184" dirty="0">
                  <a:solidFill>
                    <a:srgbClr val="000000"/>
                  </a:solidFill>
                  <a:latin typeface="나눔스퀘어 네오 Bold" panose="00000800000000000000" pitchFamily="2" charset="-127"/>
                  <a:ea typeface="나눔스퀘어 네오 Bold" panose="00000800000000000000" pitchFamily="2" charset="-127"/>
                  <a:cs typeface="Source Han Sans KR Medium"/>
                  <a:sym typeface="Source Han Sans KR Medium"/>
                </a:rPr>
                <a:t>협업 강화</a:t>
              </a:r>
              <a:endParaRPr lang="en-US" b="1" spc="-184" dirty="0">
                <a:solidFill>
                  <a:srgbClr val="000000"/>
                </a:solidFill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endParaRPr>
            </a:p>
          </p:txBody>
        </p:sp>
      </p:grp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D1FC5EF3-F1DD-1566-0753-347BFE549537}"/>
              </a:ext>
            </a:extLst>
          </p:cNvPr>
          <p:cNvGrpSpPr/>
          <p:nvPr/>
        </p:nvGrpSpPr>
        <p:grpSpPr>
          <a:xfrm>
            <a:off x="5025940" y="2785900"/>
            <a:ext cx="2058168" cy="3091567"/>
            <a:chOff x="4924340" y="2785358"/>
            <a:chExt cx="2058168" cy="3091567"/>
          </a:xfrm>
        </p:grpSpPr>
        <p:grpSp>
          <p:nvGrpSpPr>
            <p:cNvPr id="30" name="Group 6">
              <a:extLst>
                <a:ext uri="{FF2B5EF4-FFF2-40B4-BE49-F238E27FC236}">
                  <a16:creationId xmlns:a16="http://schemas.microsoft.com/office/drawing/2014/main" id="{B9C3F33A-4BB6-23A5-960B-7ACF39DDBCC8}"/>
                </a:ext>
              </a:extLst>
            </p:cNvPr>
            <p:cNvGrpSpPr/>
            <p:nvPr/>
          </p:nvGrpSpPr>
          <p:grpSpPr>
            <a:xfrm>
              <a:off x="4924340" y="3298560"/>
              <a:ext cx="2058168" cy="2578365"/>
              <a:chOff x="0" y="0"/>
              <a:chExt cx="1162540" cy="945277"/>
            </a:xfrm>
          </p:grpSpPr>
          <p:sp>
            <p:nvSpPr>
              <p:cNvPr id="38" name="Freeform 7">
                <a:extLst>
                  <a:ext uri="{FF2B5EF4-FFF2-40B4-BE49-F238E27FC236}">
                    <a16:creationId xmlns:a16="http://schemas.microsoft.com/office/drawing/2014/main" id="{4259297E-A3B3-8011-1752-A7D878EBE1D0}"/>
                  </a:ext>
                </a:extLst>
              </p:cNvPr>
              <p:cNvSpPr/>
              <p:nvPr/>
            </p:nvSpPr>
            <p:spPr>
              <a:xfrm>
                <a:off x="0" y="0"/>
                <a:ext cx="1162540" cy="945277"/>
              </a:xfrm>
              <a:custGeom>
                <a:avLst/>
                <a:gdLst/>
                <a:ahLst/>
                <a:cxnLst/>
                <a:rect l="l" t="t" r="r" b="b"/>
                <a:pathLst>
                  <a:path w="1162540" h="945277">
                    <a:moveTo>
                      <a:pt x="0" y="0"/>
                    </a:moveTo>
                    <a:lnTo>
                      <a:pt x="1162540" y="0"/>
                    </a:lnTo>
                    <a:lnTo>
                      <a:pt x="1162540" y="945277"/>
                    </a:lnTo>
                    <a:lnTo>
                      <a:pt x="0" y="945277"/>
                    </a:lnTo>
                    <a:close/>
                  </a:path>
                </a:pathLst>
              </a:custGeom>
              <a:solidFill>
                <a:srgbClr val="F4F4F4"/>
              </a:solidFill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39" name="TextBox 8">
                <a:extLst>
                  <a:ext uri="{FF2B5EF4-FFF2-40B4-BE49-F238E27FC236}">
                    <a16:creationId xmlns:a16="http://schemas.microsoft.com/office/drawing/2014/main" id="{1DF94A24-B9E1-25CF-C43E-DD549CA5DCAA}"/>
                  </a:ext>
                </a:extLst>
              </p:cNvPr>
              <p:cNvSpPr txBox="1"/>
              <p:nvPr/>
            </p:nvSpPr>
            <p:spPr>
              <a:xfrm>
                <a:off x="0" y="-47625"/>
                <a:ext cx="1162540" cy="992902"/>
              </a:xfrm>
              <a:prstGeom prst="rect">
                <a:avLst/>
              </a:prstGeom>
            </p:spPr>
            <p:txBody>
              <a:bodyPr lIns="71403" tIns="71403" rIns="71403" bIns="71403" rtlCol="0" anchor="ctr"/>
              <a:lstStyle/>
              <a:p>
                <a:pPr algn="ctr">
                  <a:lnSpc>
                    <a:spcPts val="3671"/>
                  </a:lnSpc>
                </a:pPr>
                <a:endParaRPr/>
              </a:p>
            </p:txBody>
          </p:sp>
        </p:grpSp>
        <p:grpSp>
          <p:nvGrpSpPr>
            <p:cNvPr id="31" name="그룹 30">
              <a:extLst>
                <a:ext uri="{FF2B5EF4-FFF2-40B4-BE49-F238E27FC236}">
                  <a16:creationId xmlns:a16="http://schemas.microsoft.com/office/drawing/2014/main" id="{D3BD936E-D635-3103-0EE7-A51C9905498E}"/>
                </a:ext>
              </a:extLst>
            </p:cNvPr>
            <p:cNvGrpSpPr/>
            <p:nvPr/>
          </p:nvGrpSpPr>
          <p:grpSpPr>
            <a:xfrm>
              <a:off x="5388903" y="2785358"/>
              <a:ext cx="1129042" cy="1026402"/>
              <a:chOff x="5388903" y="2686743"/>
              <a:chExt cx="1129042" cy="1026402"/>
            </a:xfrm>
          </p:grpSpPr>
          <p:grpSp>
            <p:nvGrpSpPr>
              <p:cNvPr id="34" name="Group 2">
                <a:extLst>
                  <a:ext uri="{FF2B5EF4-FFF2-40B4-BE49-F238E27FC236}">
                    <a16:creationId xmlns:a16="http://schemas.microsoft.com/office/drawing/2014/main" id="{F25A9E90-B322-D1AE-49C5-C414420A1D06}"/>
                  </a:ext>
                </a:extLst>
              </p:cNvPr>
              <p:cNvGrpSpPr/>
              <p:nvPr/>
            </p:nvGrpSpPr>
            <p:grpSpPr>
              <a:xfrm>
                <a:off x="5388903" y="2686743"/>
                <a:ext cx="1129042" cy="1026402"/>
                <a:chOff x="0" y="0"/>
                <a:chExt cx="6350000" cy="6350000"/>
              </a:xfrm>
            </p:grpSpPr>
            <p:sp>
              <p:nvSpPr>
                <p:cNvPr id="37" name="Freeform 3">
                  <a:extLst>
                    <a:ext uri="{FF2B5EF4-FFF2-40B4-BE49-F238E27FC236}">
                      <a16:creationId xmlns:a16="http://schemas.microsoft.com/office/drawing/2014/main" id="{AC7A0716-9EB6-5DB4-E25D-A1ADD103C28F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6350000" cy="635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00" h="6350000">
                      <a:moveTo>
                        <a:pt x="3175000" y="0"/>
                      </a:moveTo>
                      <a:cubicBezTo>
                        <a:pt x="1421496" y="0"/>
                        <a:pt x="0" y="1421496"/>
                        <a:pt x="0" y="3175000"/>
                      </a:cubicBezTo>
                      <a:cubicBezTo>
                        <a:pt x="0" y="4928504"/>
                        <a:pt x="1421496" y="6350000"/>
                        <a:pt x="3175000" y="6350000"/>
                      </a:cubicBezTo>
                      <a:cubicBezTo>
                        <a:pt x="4928504" y="6350000"/>
                        <a:pt x="6350000" y="4928504"/>
                        <a:pt x="6350000" y="3175000"/>
                      </a:cubicBezTo>
                      <a:cubicBezTo>
                        <a:pt x="6350000" y="1421496"/>
                        <a:pt x="4928504" y="0"/>
                        <a:pt x="3175000" y="0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</p:spPr>
              <p:txBody>
                <a:bodyPr/>
                <a:lstStyle/>
                <a:p>
                  <a:endParaRPr lang="ko-KR" altLang="en-US"/>
                </a:p>
              </p:txBody>
            </p:sp>
          </p:grpSp>
          <p:grpSp>
            <p:nvGrpSpPr>
              <p:cNvPr id="35" name="Group 12">
                <a:extLst>
                  <a:ext uri="{FF2B5EF4-FFF2-40B4-BE49-F238E27FC236}">
                    <a16:creationId xmlns:a16="http://schemas.microsoft.com/office/drawing/2014/main" id="{D352364D-3F7D-844B-962E-219ED0AF0CDA}"/>
                  </a:ext>
                </a:extLst>
              </p:cNvPr>
              <p:cNvGrpSpPr/>
              <p:nvPr/>
            </p:nvGrpSpPr>
            <p:grpSpPr>
              <a:xfrm>
                <a:off x="5489304" y="2778018"/>
                <a:ext cx="928240" cy="843851"/>
                <a:chOff x="0" y="0"/>
                <a:chExt cx="6350000" cy="6349975"/>
              </a:xfrm>
            </p:grpSpPr>
            <p:sp>
              <p:nvSpPr>
                <p:cNvPr id="36" name="Freeform 13">
                  <a:extLst>
                    <a:ext uri="{FF2B5EF4-FFF2-40B4-BE49-F238E27FC236}">
                      <a16:creationId xmlns:a16="http://schemas.microsoft.com/office/drawing/2014/main" id="{2727DAF5-C260-97EB-F24B-650EA2A0BB98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6350000" cy="6349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00" h="6349975">
                      <a:moveTo>
                        <a:pt x="6350000" y="3175025"/>
                      </a:moveTo>
                      <a:cubicBezTo>
                        <a:pt x="6350000" y="4928451"/>
                        <a:pt x="4928476" y="6349975"/>
                        <a:pt x="3175000" y="6349975"/>
                      </a:cubicBezTo>
                      <a:cubicBezTo>
                        <a:pt x="1421498" y="6349975"/>
                        <a:pt x="0" y="4928451"/>
                        <a:pt x="0" y="3175025"/>
                      </a:cubicBezTo>
                      <a:cubicBezTo>
                        <a:pt x="0" y="1421511"/>
                        <a:pt x="1421498" y="0"/>
                        <a:pt x="3175000" y="0"/>
                      </a:cubicBezTo>
                      <a:cubicBezTo>
                        <a:pt x="4928502" y="0"/>
                        <a:pt x="6350000" y="1421511"/>
                        <a:pt x="6350000" y="3175025"/>
                      </a:cubicBezTo>
                      <a:close/>
                    </a:path>
                  </a:pathLst>
                </a:custGeom>
                <a:blipFill>
                  <a:blip r:embed="rId2"/>
                  <a:stretch>
                    <a:fillRect l="-25046" r="-25046"/>
                  </a:stretch>
                </a:blip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ko-KR" altLang="en-US"/>
                </a:p>
              </p:txBody>
            </p:sp>
          </p:grpSp>
        </p:grpSp>
        <p:sp>
          <p:nvSpPr>
            <p:cNvPr id="32" name="TextBox 27">
              <a:extLst>
                <a:ext uri="{FF2B5EF4-FFF2-40B4-BE49-F238E27FC236}">
                  <a16:creationId xmlns:a16="http://schemas.microsoft.com/office/drawing/2014/main" id="{92331DF3-EF8D-8BEC-DA83-E9F9AFEB0F43}"/>
                </a:ext>
              </a:extLst>
            </p:cNvPr>
            <p:cNvSpPr txBox="1"/>
            <p:nvPr/>
          </p:nvSpPr>
          <p:spPr>
            <a:xfrm>
              <a:off x="4999424" y="4253899"/>
              <a:ext cx="1908000" cy="107459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285750" indent="-180000">
                <a:lnSpc>
                  <a:spcPts val="1700"/>
                </a:lnSpc>
                <a:spcBef>
                  <a:spcPct val="0"/>
                </a:spcBef>
                <a:buFont typeface="Wingdings" panose="05000000000000000000" pitchFamily="2" charset="2"/>
                <a:buChar char="§"/>
              </a:pPr>
              <a:r>
                <a:rPr lang="ko-KR" altLang="en-US" sz="1100" dirty="0" err="1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모듈식</a:t>
              </a:r>
              <a:r>
                <a:rPr lang="ko-KR" altLang="en-US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 아키텍처를 통해</a:t>
              </a:r>
              <a:br>
                <a:rPr lang="en-US" altLang="ko-KR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</a:br>
              <a:r>
                <a:rPr lang="ko-KR" altLang="en-US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기존의 다양한 시스템과</a:t>
              </a:r>
              <a:br>
                <a:rPr lang="en-US" altLang="ko-KR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</a:br>
              <a:r>
                <a:rPr lang="ko-KR" altLang="en-US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유연하게 통합</a:t>
              </a:r>
              <a:r>
                <a:rPr lang="en-US" altLang="ko-KR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, </a:t>
              </a:r>
              <a:r>
                <a:rPr lang="ko-KR" altLang="en-US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확장 용이</a:t>
              </a:r>
              <a:endParaRPr lang="en-US" altLang="ko-KR" sz="110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Times New Roman" panose="02020603050405020304" pitchFamily="18" charset="0"/>
              </a:endParaRPr>
            </a:p>
            <a:p>
              <a:pPr marL="285750" indent="-180000">
                <a:lnSpc>
                  <a:spcPts val="1700"/>
                </a:lnSpc>
                <a:spcBef>
                  <a:spcPct val="0"/>
                </a:spcBef>
                <a:buFont typeface="Wingdings" panose="05000000000000000000" pitchFamily="2" charset="2"/>
                <a:buChar char="§"/>
              </a:pPr>
              <a:r>
                <a:rPr lang="ko-KR" altLang="en-US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변화하는 비즈니스 요구에</a:t>
              </a:r>
              <a:br>
                <a:rPr lang="en-US" altLang="ko-KR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</a:br>
              <a:r>
                <a:rPr lang="ko-KR" altLang="en-US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맞춰 신속하게 대응</a:t>
              </a:r>
              <a:endParaRPr lang="en-US" sz="1100" spc="-95" dirty="0">
                <a:solidFill>
                  <a:srgbClr val="000000"/>
                </a:solidFill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endParaRPr>
            </a:p>
          </p:txBody>
        </p:sp>
        <p:sp>
          <p:nvSpPr>
            <p:cNvPr id="33" name="TextBox 29">
              <a:extLst>
                <a:ext uri="{FF2B5EF4-FFF2-40B4-BE49-F238E27FC236}">
                  <a16:creationId xmlns:a16="http://schemas.microsoft.com/office/drawing/2014/main" id="{9FEE41FD-40DA-0E63-2370-3077B2CBAD94}"/>
                </a:ext>
              </a:extLst>
            </p:cNvPr>
            <p:cNvSpPr txBox="1"/>
            <p:nvPr/>
          </p:nvSpPr>
          <p:spPr>
            <a:xfrm>
              <a:off x="5143424" y="3894042"/>
              <a:ext cx="1620000" cy="276999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ko-KR" altLang="en-US" b="1" spc="-184" dirty="0">
                  <a:solidFill>
                    <a:srgbClr val="000000"/>
                  </a:solidFill>
                  <a:latin typeface="나눔스퀘어 네오 Bold" panose="00000800000000000000" pitchFamily="2" charset="-127"/>
                  <a:ea typeface="나눔스퀘어 네오 Bold" panose="00000800000000000000" pitchFamily="2" charset="-127"/>
                  <a:cs typeface="Source Han Sans KR Medium"/>
                  <a:sym typeface="Source Han Sans KR Medium"/>
                </a:rPr>
                <a:t>유연성</a:t>
              </a:r>
              <a:endParaRPr lang="en-US" b="1" spc="-184" dirty="0">
                <a:solidFill>
                  <a:srgbClr val="000000"/>
                </a:solidFill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endParaRPr>
            </a:p>
          </p:txBody>
        </p:sp>
      </p:grpSp>
      <p:grpSp>
        <p:nvGrpSpPr>
          <p:cNvPr id="40" name="그룹 39">
            <a:extLst>
              <a:ext uri="{FF2B5EF4-FFF2-40B4-BE49-F238E27FC236}">
                <a16:creationId xmlns:a16="http://schemas.microsoft.com/office/drawing/2014/main" id="{8B670AFA-27D8-F98E-5938-577CE619DDA7}"/>
              </a:ext>
            </a:extLst>
          </p:cNvPr>
          <p:cNvGrpSpPr/>
          <p:nvPr/>
        </p:nvGrpSpPr>
        <p:grpSpPr>
          <a:xfrm>
            <a:off x="7218595" y="2785900"/>
            <a:ext cx="2058168" cy="3091567"/>
            <a:chOff x="7218595" y="2785358"/>
            <a:chExt cx="2058168" cy="3091567"/>
          </a:xfrm>
        </p:grpSpPr>
        <p:grpSp>
          <p:nvGrpSpPr>
            <p:cNvPr id="41" name="Group 6">
              <a:extLst>
                <a:ext uri="{FF2B5EF4-FFF2-40B4-BE49-F238E27FC236}">
                  <a16:creationId xmlns:a16="http://schemas.microsoft.com/office/drawing/2014/main" id="{4833CCA9-2CCE-6DFF-EA01-0E99450B0C36}"/>
                </a:ext>
              </a:extLst>
            </p:cNvPr>
            <p:cNvGrpSpPr/>
            <p:nvPr/>
          </p:nvGrpSpPr>
          <p:grpSpPr>
            <a:xfrm>
              <a:off x="7218595" y="3298560"/>
              <a:ext cx="2058168" cy="2578365"/>
              <a:chOff x="0" y="0"/>
              <a:chExt cx="1162540" cy="945277"/>
            </a:xfrm>
          </p:grpSpPr>
          <p:sp>
            <p:nvSpPr>
              <p:cNvPr id="49" name="Freeform 7">
                <a:extLst>
                  <a:ext uri="{FF2B5EF4-FFF2-40B4-BE49-F238E27FC236}">
                    <a16:creationId xmlns:a16="http://schemas.microsoft.com/office/drawing/2014/main" id="{A49CCF07-5AB4-D405-32DE-9F0552D3942B}"/>
                  </a:ext>
                </a:extLst>
              </p:cNvPr>
              <p:cNvSpPr/>
              <p:nvPr/>
            </p:nvSpPr>
            <p:spPr>
              <a:xfrm>
                <a:off x="0" y="0"/>
                <a:ext cx="1162540" cy="945277"/>
              </a:xfrm>
              <a:custGeom>
                <a:avLst/>
                <a:gdLst/>
                <a:ahLst/>
                <a:cxnLst/>
                <a:rect l="l" t="t" r="r" b="b"/>
                <a:pathLst>
                  <a:path w="1162540" h="945277">
                    <a:moveTo>
                      <a:pt x="0" y="0"/>
                    </a:moveTo>
                    <a:lnTo>
                      <a:pt x="1162540" y="0"/>
                    </a:lnTo>
                    <a:lnTo>
                      <a:pt x="1162540" y="945277"/>
                    </a:lnTo>
                    <a:lnTo>
                      <a:pt x="0" y="945277"/>
                    </a:lnTo>
                    <a:close/>
                  </a:path>
                </a:pathLst>
              </a:custGeom>
              <a:solidFill>
                <a:srgbClr val="F4F4F4"/>
              </a:solidFill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50" name="TextBox 8">
                <a:extLst>
                  <a:ext uri="{FF2B5EF4-FFF2-40B4-BE49-F238E27FC236}">
                    <a16:creationId xmlns:a16="http://schemas.microsoft.com/office/drawing/2014/main" id="{1E1885AD-91E9-FAE1-74E3-CBAB8A13B756}"/>
                  </a:ext>
                </a:extLst>
              </p:cNvPr>
              <p:cNvSpPr txBox="1"/>
              <p:nvPr/>
            </p:nvSpPr>
            <p:spPr>
              <a:xfrm>
                <a:off x="0" y="-47625"/>
                <a:ext cx="1162540" cy="992902"/>
              </a:xfrm>
              <a:prstGeom prst="rect">
                <a:avLst/>
              </a:prstGeom>
            </p:spPr>
            <p:txBody>
              <a:bodyPr lIns="71403" tIns="71403" rIns="71403" bIns="71403" rtlCol="0" anchor="ctr"/>
              <a:lstStyle/>
              <a:p>
                <a:pPr algn="ctr">
                  <a:lnSpc>
                    <a:spcPts val="3671"/>
                  </a:lnSpc>
                </a:pPr>
                <a:endParaRPr/>
              </a:p>
            </p:txBody>
          </p:sp>
        </p:grpSp>
        <p:grpSp>
          <p:nvGrpSpPr>
            <p:cNvPr id="42" name="그룹 41">
              <a:extLst>
                <a:ext uri="{FF2B5EF4-FFF2-40B4-BE49-F238E27FC236}">
                  <a16:creationId xmlns:a16="http://schemas.microsoft.com/office/drawing/2014/main" id="{005B764A-B2D5-D848-F20C-7BC5BC3C4641}"/>
                </a:ext>
              </a:extLst>
            </p:cNvPr>
            <p:cNvGrpSpPr/>
            <p:nvPr/>
          </p:nvGrpSpPr>
          <p:grpSpPr>
            <a:xfrm>
              <a:off x="7683158" y="2785358"/>
              <a:ext cx="1129042" cy="1026402"/>
              <a:chOff x="7683158" y="2686743"/>
              <a:chExt cx="1129042" cy="1026402"/>
            </a:xfrm>
          </p:grpSpPr>
          <p:grpSp>
            <p:nvGrpSpPr>
              <p:cNvPr id="45" name="Group 2">
                <a:extLst>
                  <a:ext uri="{FF2B5EF4-FFF2-40B4-BE49-F238E27FC236}">
                    <a16:creationId xmlns:a16="http://schemas.microsoft.com/office/drawing/2014/main" id="{F58E2EA7-88CC-BB6D-B30A-5F5B7CDDFFE7}"/>
                  </a:ext>
                </a:extLst>
              </p:cNvPr>
              <p:cNvGrpSpPr/>
              <p:nvPr/>
            </p:nvGrpSpPr>
            <p:grpSpPr>
              <a:xfrm>
                <a:off x="7683158" y="2686743"/>
                <a:ext cx="1129042" cy="1026402"/>
                <a:chOff x="0" y="0"/>
                <a:chExt cx="6350000" cy="6350000"/>
              </a:xfrm>
            </p:grpSpPr>
            <p:sp>
              <p:nvSpPr>
                <p:cNvPr id="48" name="Freeform 3">
                  <a:extLst>
                    <a:ext uri="{FF2B5EF4-FFF2-40B4-BE49-F238E27FC236}">
                      <a16:creationId xmlns:a16="http://schemas.microsoft.com/office/drawing/2014/main" id="{8AD5A6AD-0E8A-1109-EC9A-A27EA39912DA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6350000" cy="635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00" h="6350000">
                      <a:moveTo>
                        <a:pt x="3175000" y="0"/>
                      </a:moveTo>
                      <a:cubicBezTo>
                        <a:pt x="1421496" y="0"/>
                        <a:pt x="0" y="1421496"/>
                        <a:pt x="0" y="3175000"/>
                      </a:cubicBezTo>
                      <a:cubicBezTo>
                        <a:pt x="0" y="4928504"/>
                        <a:pt x="1421496" y="6350000"/>
                        <a:pt x="3175000" y="6350000"/>
                      </a:cubicBezTo>
                      <a:cubicBezTo>
                        <a:pt x="4928504" y="6350000"/>
                        <a:pt x="6350000" y="4928504"/>
                        <a:pt x="6350000" y="3175000"/>
                      </a:cubicBezTo>
                      <a:cubicBezTo>
                        <a:pt x="6350000" y="1421496"/>
                        <a:pt x="4928504" y="0"/>
                        <a:pt x="3175000" y="0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</p:spPr>
              <p:txBody>
                <a:bodyPr/>
                <a:lstStyle/>
                <a:p>
                  <a:endParaRPr lang="ko-KR" altLang="en-US"/>
                </a:p>
              </p:txBody>
            </p:sp>
          </p:grpSp>
          <p:grpSp>
            <p:nvGrpSpPr>
              <p:cNvPr id="46" name="Group 12">
                <a:extLst>
                  <a:ext uri="{FF2B5EF4-FFF2-40B4-BE49-F238E27FC236}">
                    <a16:creationId xmlns:a16="http://schemas.microsoft.com/office/drawing/2014/main" id="{5FEF6EE8-8E87-EB37-C2EB-B82D6E8F4D1D}"/>
                  </a:ext>
                </a:extLst>
              </p:cNvPr>
              <p:cNvGrpSpPr/>
              <p:nvPr/>
            </p:nvGrpSpPr>
            <p:grpSpPr>
              <a:xfrm>
                <a:off x="7783559" y="2778018"/>
                <a:ext cx="928240" cy="843851"/>
                <a:chOff x="0" y="0"/>
                <a:chExt cx="6350000" cy="6349975"/>
              </a:xfrm>
            </p:grpSpPr>
            <p:sp>
              <p:nvSpPr>
                <p:cNvPr id="47" name="Freeform 13">
                  <a:extLst>
                    <a:ext uri="{FF2B5EF4-FFF2-40B4-BE49-F238E27FC236}">
                      <a16:creationId xmlns:a16="http://schemas.microsoft.com/office/drawing/2014/main" id="{E9F84AB9-CD97-6FEB-CB09-1F8A5F350237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6350000" cy="6349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00" h="6349975">
                      <a:moveTo>
                        <a:pt x="6350000" y="3175025"/>
                      </a:moveTo>
                      <a:cubicBezTo>
                        <a:pt x="6350000" y="4928451"/>
                        <a:pt x="4928476" y="6349975"/>
                        <a:pt x="3175000" y="6349975"/>
                      </a:cubicBezTo>
                      <a:cubicBezTo>
                        <a:pt x="1421498" y="6349975"/>
                        <a:pt x="0" y="4928451"/>
                        <a:pt x="0" y="3175025"/>
                      </a:cubicBezTo>
                      <a:cubicBezTo>
                        <a:pt x="0" y="1421511"/>
                        <a:pt x="1421498" y="0"/>
                        <a:pt x="3175000" y="0"/>
                      </a:cubicBezTo>
                      <a:cubicBezTo>
                        <a:pt x="4928502" y="0"/>
                        <a:pt x="6350000" y="1421511"/>
                        <a:pt x="6350000" y="3175025"/>
                      </a:cubicBezTo>
                      <a:close/>
                    </a:path>
                  </a:pathLst>
                </a:custGeom>
                <a:blipFill>
                  <a:blip r:embed="rId2"/>
                  <a:stretch>
                    <a:fillRect l="-25046" r="-25046"/>
                  </a:stretch>
                </a:blip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ko-KR" altLang="en-US"/>
                </a:p>
              </p:txBody>
            </p:sp>
          </p:grpSp>
        </p:grpSp>
        <p:sp>
          <p:nvSpPr>
            <p:cNvPr id="43" name="TextBox 27">
              <a:extLst>
                <a:ext uri="{FF2B5EF4-FFF2-40B4-BE49-F238E27FC236}">
                  <a16:creationId xmlns:a16="http://schemas.microsoft.com/office/drawing/2014/main" id="{1B68937B-EBA2-179C-DD38-794A31A3E92F}"/>
                </a:ext>
              </a:extLst>
            </p:cNvPr>
            <p:cNvSpPr txBox="1"/>
            <p:nvPr/>
          </p:nvSpPr>
          <p:spPr>
            <a:xfrm>
              <a:off x="7293679" y="4253899"/>
              <a:ext cx="1908000" cy="151060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285750" indent="-180000">
                <a:lnSpc>
                  <a:spcPts val="1700"/>
                </a:lnSpc>
                <a:spcBef>
                  <a:spcPct val="0"/>
                </a:spcBef>
                <a:buFont typeface="Wingdings" panose="05000000000000000000" pitchFamily="2" charset="2"/>
                <a:buChar char="§"/>
              </a:pPr>
              <a:r>
                <a:rPr lang="ko-KR" altLang="en-US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개발 단계부터 운영 단계</a:t>
              </a:r>
              <a:br>
                <a:rPr lang="en-US" altLang="ko-KR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</a:br>
              <a:r>
                <a:rPr lang="ko-KR" altLang="en-US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까지 발생하는 문제를 </a:t>
              </a:r>
              <a:br>
                <a:rPr lang="en-US" altLang="ko-KR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</a:br>
              <a:r>
                <a:rPr lang="ko-KR" altLang="en-US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신속하게 해결하고 </a:t>
              </a:r>
              <a:br>
                <a:rPr lang="en-US" altLang="ko-KR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</a:br>
              <a:r>
                <a:rPr lang="ko-KR" altLang="en-US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안정적인 운영을 지원</a:t>
              </a:r>
              <a:endParaRPr lang="en-US" altLang="ko-KR" sz="1100" dirty="0">
                <a:effectLst/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Times New Roman" panose="02020603050405020304" pitchFamily="18" charset="0"/>
              </a:endParaRPr>
            </a:p>
            <a:p>
              <a:pPr marL="285750" indent="-180000">
                <a:lnSpc>
                  <a:spcPts val="1700"/>
                </a:lnSpc>
                <a:spcBef>
                  <a:spcPct val="0"/>
                </a:spcBef>
                <a:buFont typeface="Wingdings" panose="05000000000000000000" pitchFamily="2" charset="2"/>
                <a:buChar char="§"/>
              </a:pPr>
              <a:r>
                <a:rPr lang="ko-KR" altLang="en-US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안정성을</a:t>
              </a:r>
              <a:r>
                <a:rPr lang="en-US" altLang="ko-KR" sz="110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 </a:t>
              </a:r>
              <a:r>
                <a:rPr lang="ko-KR" altLang="en-US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확보하기 위한</a:t>
              </a:r>
              <a:br>
                <a:rPr lang="en-US" altLang="ko-KR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</a:br>
              <a:r>
                <a:rPr lang="ko-KR" altLang="en-US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전문적인 기술 지원 </a:t>
              </a:r>
              <a:br>
                <a:rPr lang="en-US" altLang="ko-KR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</a:br>
              <a:r>
                <a:rPr lang="ko-KR" altLang="en-US" sz="1100" dirty="0">
                  <a:effectLst/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Times New Roman" panose="02020603050405020304" pitchFamily="18" charset="0"/>
                </a:rPr>
                <a:t>서비스를 제공</a:t>
              </a:r>
              <a:endParaRPr lang="en-US" altLang="ko-KR" sz="110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Times New Roman" panose="02020603050405020304" pitchFamily="18" charset="0"/>
              </a:endParaRPr>
            </a:p>
          </p:txBody>
        </p:sp>
        <p:sp>
          <p:nvSpPr>
            <p:cNvPr id="44" name="TextBox 29">
              <a:extLst>
                <a:ext uri="{FF2B5EF4-FFF2-40B4-BE49-F238E27FC236}">
                  <a16:creationId xmlns:a16="http://schemas.microsoft.com/office/drawing/2014/main" id="{75CA3EBC-2E9F-04E3-EB54-F060039DB514}"/>
                </a:ext>
              </a:extLst>
            </p:cNvPr>
            <p:cNvSpPr txBox="1"/>
            <p:nvPr/>
          </p:nvSpPr>
          <p:spPr>
            <a:xfrm>
              <a:off x="7437679" y="3894042"/>
              <a:ext cx="1620000" cy="276999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ko-KR" altLang="en-US" b="1" spc="-184" dirty="0">
                  <a:solidFill>
                    <a:srgbClr val="000000"/>
                  </a:solidFill>
                  <a:latin typeface="나눔스퀘어 네오 Bold" panose="00000800000000000000" pitchFamily="2" charset="-127"/>
                  <a:ea typeface="나눔스퀘어 네오 Bold" panose="00000800000000000000" pitchFamily="2" charset="-127"/>
                  <a:cs typeface="Source Han Sans KR Medium"/>
                  <a:sym typeface="Source Han Sans KR Medium"/>
                </a:rPr>
                <a:t>안정성</a:t>
              </a:r>
              <a:endParaRPr lang="en-US" b="1" spc="-184" dirty="0">
                <a:solidFill>
                  <a:srgbClr val="000000"/>
                </a:solidFill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37462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D0A2A596-1FDD-51FB-D23D-234B890713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SERVICE</a:t>
            </a:r>
            <a:endParaRPr lang="ko-KR" altLang="en-US" dirty="0"/>
          </a:p>
        </p:txBody>
      </p:sp>
      <p:sp>
        <p:nvSpPr>
          <p:cNvPr id="20" name="Freeform 3">
            <a:extLst>
              <a:ext uri="{FF2B5EF4-FFF2-40B4-BE49-F238E27FC236}">
                <a16:creationId xmlns:a16="http://schemas.microsoft.com/office/drawing/2014/main" id="{03209920-5BE6-E491-09C0-F4752D2D9277}"/>
              </a:ext>
            </a:extLst>
          </p:cNvPr>
          <p:cNvSpPr/>
          <p:nvPr/>
        </p:nvSpPr>
        <p:spPr>
          <a:xfrm>
            <a:off x="624986" y="1096231"/>
            <a:ext cx="8647621" cy="611292"/>
          </a:xfrm>
          <a:custGeom>
            <a:avLst/>
            <a:gdLst/>
            <a:ahLst/>
            <a:cxnLst/>
            <a:rect l="l" t="t" r="r" b="b"/>
            <a:pathLst>
              <a:path w="3809237" h="270339">
                <a:moveTo>
                  <a:pt x="0" y="0"/>
                </a:moveTo>
                <a:lnTo>
                  <a:pt x="3809237" y="0"/>
                </a:lnTo>
                <a:lnTo>
                  <a:pt x="3809237" y="270339"/>
                </a:lnTo>
                <a:lnTo>
                  <a:pt x="0" y="270339"/>
                </a:lnTo>
                <a:close/>
              </a:path>
            </a:pathLst>
          </a:custGeom>
          <a:solidFill>
            <a:srgbClr val="4E4F50"/>
          </a:solidFill>
        </p:spPr>
        <p:txBody>
          <a:bodyPr/>
          <a:lstStyle/>
          <a:p>
            <a:endParaRPr lang="ko-KR" altLang="en-US" sz="867"/>
          </a:p>
        </p:txBody>
      </p:sp>
      <p:sp>
        <p:nvSpPr>
          <p:cNvPr id="21" name="TextBox 4">
            <a:extLst>
              <a:ext uri="{FF2B5EF4-FFF2-40B4-BE49-F238E27FC236}">
                <a16:creationId xmlns:a16="http://schemas.microsoft.com/office/drawing/2014/main" id="{3F0C6A01-89CB-C1E0-E606-E303F57825E4}"/>
              </a:ext>
            </a:extLst>
          </p:cNvPr>
          <p:cNvSpPr txBox="1"/>
          <p:nvPr/>
        </p:nvSpPr>
        <p:spPr>
          <a:xfrm>
            <a:off x="646276" y="1345580"/>
            <a:ext cx="8613449" cy="718982"/>
          </a:xfrm>
          <a:prstGeom prst="rect">
            <a:avLst/>
          </a:prstGeom>
        </p:spPr>
        <p:txBody>
          <a:bodyPr lIns="38677" tIns="38677" rIns="38677" bIns="38677" rtlCol="0" anchor="ctr"/>
          <a:lstStyle/>
          <a:p>
            <a:pPr algn="ctr">
              <a:lnSpc>
                <a:spcPts val="1989"/>
              </a:lnSpc>
            </a:pPr>
            <a:endParaRPr sz="867"/>
          </a:p>
        </p:txBody>
      </p:sp>
      <p:grpSp>
        <p:nvGrpSpPr>
          <p:cNvPr id="28" name="Group 11">
            <a:extLst>
              <a:ext uri="{FF2B5EF4-FFF2-40B4-BE49-F238E27FC236}">
                <a16:creationId xmlns:a16="http://schemas.microsoft.com/office/drawing/2014/main" id="{95A74213-A10B-7730-2AEE-3C7B602759A4}"/>
              </a:ext>
            </a:extLst>
          </p:cNvPr>
          <p:cNvGrpSpPr/>
          <p:nvPr/>
        </p:nvGrpSpPr>
        <p:grpSpPr>
          <a:xfrm>
            <a:off x="3585815" y="2129977"/>
            <a:ext cx="2744995" cy="1800000"/>
            <a:chOff x="0" y="0"/>
            <a:chExt cx="1231847" cy="668027"/>
          </a:xfrm>
        </p:grpSpPr>
        <p:sp>
          <p:nvSpPr>
            <p:cNvPr id="29" name="Freeform 12">
              <a:extLst>
                <a:ext uri="{FF2B5EF4-FFF2-40B4-BE49-F238E27FC236}">
                  <a16:creationId xmlns:a16="http://schemas.microsoft.com/office/drawing/2014/main" id="{1AF65D2F-D40B-21A1-0165-30A447D841BD}"/>
                </a:ext>
              </a:extLst>
            </p:cNvPr>
            <p:cNvSpPr/>
            <p:nvPr/>
          </p:nvSpPr>
          <p:spPr>
            <a:xfrm>
              <a:off x="0" y="0"/>
              <a:ext cx="1231847" cy="668027"/>
            </a:xfrm>
            <a:custGeom>
              <a:avLst/>
              <a:gdLst/>
              <a:ahLst/>
              <a:cxnLst/>
              <a:rect l="l" t="t" r="r" b="b"/>
              <a:pathLst>
                <a:path w="1231847" h="668027">
                  <a:moveTo>
                    <a:pt x="0" y="0"/>
                  </a:moveTo>
                  <a:lnTo>
                    <a:pt x="1231847" y="0"/>
                  </a:lnTo>
                  <a:lnTo>
                    <a:pt x="1231847" y="668027"/>
                  </a:lnTo>
                  <a:lnTo>
                    <a:pt x="0" y="668027"/>
                  </a:lnTo>
                  <a:close/>
                </a:path>
              </a:pathLst>
            </a:custGeom>
            <a:solidFill>
              <a:srgbClr val="FFFFFF"/>
            </a:solidFill>
            <a:ln w="9525" cap="sq">
              <a:solidFill>
                <a:srgbClr val="E3E4E0"/>
              </a:solidFill>
              <a:prstDash val="solid"/>
              <a:miter/>
            </a:ln>
          </p:spPr>
          <p:txBody>
            <a:bodyPr/>
            <a:lstStyle/>
            <a:p>
              <a:endParaRPr lang="ko-KR" altLang="en-US" sz="867"/>
            </a:p>
          </p:txBody>
        </p:sp>
        <p:sp>
          <p:nvSpPr>
            <p:cNvPr id="30" name="TextBox 13">
              <a:extLst>
                <a:ext uri="{FF2B5EF4-FFF2-40B4-BE49-F238E27FC236}">
                  <a16:creationId xmlns:a16="http://schemas.microsoft.com/office/drawing/2014/main" id="{625D1527-30CB-6095-944A-632CBE7BA094}"/>
                </a:ext>
              </a:extLst>
            </p:cNvPr>
            <p:cNvSpPr txBox="1"/>
            <p:nvPr/>
          </p:nvSpPr>
          <p:spPr>
            <a:xfrm>
              <a:off x="0" y="-47625"/>
              <a:ext cx="1231847" cy="715652"/>
            </a:xfrm>
            <a:prstGeom prst="rect">
              <a:avLst/>
            </a:prstGeom>
          </p:spPr>
          <p:txBody>
            <a:bodyPr lIns="38677" tIns="38677" rIns="38677" bIns="38677" rtlCol="0" anchor="ctr"/>
            <a:lstStyle/>
            <a:p>
              <a:pPr algn="ctr">
                <a:lnSpc>
                  <a:spcPts val="1989"/>
                </a:lnSpc>
              </a:pPr>
              <a:endParaRPr sz="867"/>
            </a:p>
          </p:txBody>
        </p:sp>
      </p:grpSp>
      <p:grpSp>
        <p:nvGrpSpPr>
          <p:cNvPr id="31" name="Group 14">
            <a:extLst>
              <a:ext uri="{FF2B5EF4-FFF2-40B4-BE49-F238E27FC236}">
                <a16:creationId xmlns:a16="http://schemas.microsoft.com/office/drawing/2014/main" id="{AEC86F08-25D1-0C58-4056-A847E9EF050A}"/>
              </a:ext>
            </a:extLst>
          </p:cNvPr>
          <p:cNvGrpSpPr/>
          <p:nvPr/>
        </p:nvGrpSpPr>
        <p:grpSpPr>
          <a:xfrm>
            <a:off x="3581846" y="4076851"/>
            <a:ext cx="2746800" cy="1800000"/>
            <a:chOff x="0" y="0"/>
            <a:chExt cx="1231847" cy="668027"/>
          </a:xfrm>
        </p:grpSpPr>
        <p:sp>
          <p:nvSpPr>
            <p:cNvPr id="32" name="Freeform 15">
              <a:extLst>
                <a:ext uri="{FF2B5EF4-FFF2-40B4-BE49-F238E27FC236}">
                  <a16:creationId xmlns:a16="http://schemas.microsoft.com/office/drawing/2014/main" id="{F2062812-EF6D-370E-3E29-51DACE8CAEA0}"/>
                </a:ext>
              </a:extLst>
            </p:cNvPr>
            <p:cNvSpPr/>
            <p:nvPr/>
          </p:nvSpPr>
          <p:spPr>
            <a:xfrm>
              <a:off x="0" y="0"/>
              <a:ext cx="1231847" cy="668027"/>
            </a:xfrm>
            <a:custGeom>
              <a:avLst/>
              <a:gdLst/>
              <a:ahLst/>
              <a:cxnLst/>
              <a:rect l="l" t="t" r="r" b="b"/>
              <a:pathLst>
                <a:path w="1231847" h="668027">
                  <a:moveTo>
                    <a:pt x="0" y="0"/>
                  </a:moveTo>
                  <a:lnTo>
                    <a:pt x="1231847" y="0"/>
                  </a:lnTo>
                  <a:lnTo>
                    <a:pt x="1231847" y="668027"/>
                  </a:lnTo>
                  <a:lnTo>
                    <a:pt x="0" y="668027"/>
                  </a:lnTo>
                  <a:close/>
                </a:path>
              </a:pathLst>
            </a:custGeom>
            <a:solidFill>
              <a:srgbClr val="FFFFFF"/>
            </a:solidFill>
            <a:ln w="9525" cap="sq">
              <a:solidFill>
                <a:srgbClr val="E3E4E0"/>
              </a:solidFill>
              <a:prstDash val="solid"/>
              <a:miter/>
            </a:ln>
          </p:spPr>
          <p:txBody>
            <a:bodyPr/>
            <a:lstStyle/>
            <a:p>
              <a:endParaRPr lang="ko-KR" altLang="en-US" sz="867"/>
            </a:p>
          </p:txBody>
        </p:sp>
        <p:sp>
          <p:nvSpPr>
            <p:cNvPr id="33" name="TextBox 16">
              <a:extLst>
                <a:ext uri="{FF2B5EF4-FFF2-40B4-BE49-F238E27FC236}">
                  <a16:creationId xmlns:a16="http://schemas.microsoft.com/office/drawing/2014/main" id="{89C6A3BC-2B29-F97E-8F76-817365B151A6}"/>
                </a:ext>
              </a:extLst>
            </p:cNvPr>
            <p:cNvSpPr txBox="1"/>
            <p:nvPr/>
          </p:nvSpPr>
          <p:spPr>
            <a:xfrm>
              <a:off x="0" y="-47625"/>
              <a:ext cx="1231847" cy="715652"/>
            </a:xfrm>
            <a:prstGeom prst="rect">
              <a:avLst/>
            </a:prstGeom>
          </p:spPr>
          <p:txBody>
            <a:bodyPr lIns="38677" tIns="38677" rIns="38677" bIns="38677" rtlCol="0" anchor="ctr"/>
            <a:lstStyle/>
            <a:p>
              <a:pPr algn="ctr">
                <a:lnSpc>
                  <a:spcPts val="1989"/>
                </a:lnSpc>
              </a:pPr>
              <a:endParaRPr sz="867"/>
            </a:p>
          </p:txBody>
        </p:sp>
      </p:grpSp>
      <p:sp>
        <p:nvSpPr>
          <p:cNvPr id="36" name="TextBox 23">
            <a:extLst>
              <a:ext uri="{FF2B5EF4-FFF2-40B4-BE49-F238E27FC236}">
                <a16:creationId xmlns:a16="http://schemas.microsoft.com/office/drawing/2014/main" id="{29D9F556-41B8-8508-9B61-3892D5870021}"/>
              </a:ext>
            </a:extLst>
          </p:cNvPr>
          <p:cNvSpPr txBox="1"/>
          <p:nvPr/>
        </p:nvSpPr>
        <p:spPr>
          <a:xfrm>
            <a:off x="3806209" y="2709886"/>
            <a:ext cx="2300400" cy="599780"/>
          </a:xfrm>
          <a:prstGeom prst="rect">
            <a:avLst/>
          </a:prstGeom>
        </p:spPr>
        <p:txBody>
          <a:bodyPr wrap="square" lIns="36000" tIns="0" rIns="0" bIns="0" rtlCol="0" anchor="t">
            <a:spAutoFit/>
          </a:bodyPr>
          <a:lstStyle/>
          <a:p>
            <a:pPr>
              <a:lnSpc>
                <a:spcPts val="1600"/>
              </a:lnSpc>
              <a:spcBef>
                <a:spcPct val="0"/>
              </a:spcBef>
            </a:pPr>
            <a:r>
              <a:rPr lang="ko-KR" altLang="en-US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다수의 금융권 </a:t>
            </a:r>
            <a:r>
              <a:rPr lang="en-US" altLang="ko-KR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IT </a:t>
            </a:r>
            <a:r>
              <a:rPr lang="ko-KR" altLang="en-US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경험</a:t>
            </a:r>
            <a:r>
              <a:rPr lang="en-US" altLang="ko-KR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, </a:t>
            </a:r>
            <a:r>
              <a:rPr lang="ko-KR" altLang="en-US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금융 산업에 대한 깊이 있는 이해를 바탕으로 하는 전문가들이 함께합니다</a:t>
            </a:r>
            <a:r>
              <a:rPr lang="en-US" altLang="ko-KR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.</a:t>
            </a:r>
          </a:p>
        </p:txBody>
      </p:sp>
      <p:sp>
        <p:nvSpPr>
          <p:cNvPr id="37" name="TextBox 24">
            <a:extLst>
              <a:ext uri="{FF2B5EF4-FFF2-40B4-BE49-F238E27FC236}">
                <a16:creationId xmlns:a16="http://schemas.microsoft.com/office/drawing/2014/main" id="{EADFC670-8918-ABC8-32AF-04F8B05B5766}"/>
              </a:ext>
            </a:extLst>
          </p:cNvPr>
          <p:cNvSpPr txBox="1"/>
          <p:nvPr/>
        </p:nvSpPr>
        <p:spPr>
          <a:xfrm>
            <a:off x="3806209" y="4666285"/>
            <a:ext cx="2300400" cy="599780"/>
          </a:xfrm>
          <a:prstGeom prst="rect">
            <a:avLst/>
          </a:prstGeom>
        </p:spPr>
        <p:txBody>
          <a:bodyPr wrap="square" lIns="36000" tIns="0" rIns="0" bIns="0" rtlCol="0" anchor="t">
            <a:spAutoFit/>
          </a:bodyPr>
          <a:lstStyle/>
          <a:p>
            <a:pPr>
              <a:lnSpc>
                <a:spcPts val="1600"/>
              </a:lnSpc>
              <a:spcBef>
                <a:spcPct val="0"/>
              </a:spcBef>
            </a:pPr>
            <a:r>
              <a:rPr lang="ko-KR" altLang="en-US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애플리케이션 개발 후에도 안정적인 운영과 지속적인 성능 개선을 위한 지원을 제공합니다</a:t>
            </a:r>
            <a:r>
              <a:rPr lang="en-US" altLang="ko-KR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.</a:t>
            </a:r>
            <a:endParaRPr lang="en-US" sz="1000" spc="-51" dirty="0">
              <a:latin typeface="나눔스퀘어 네오 Regular" panose="00000500000000000000" pitchFamily="2" charset="-127"/>
              <a:ea typeface="나눔스퀘어 네오 Regular" panose="00000500000000000000" pitchFamily="2" charset="-127"/>
              <a:cs typeface="Source Han Sans KR"/>
              <a:sym typeface="Source Han Sans KR"/>
            </a:endParaRPr>
          </a:p>
        </p:txBody>
      </p:sp>
      <p:grpSp>
        <p:nvGrpSpPr>
          <p:cNvPr id="22" name="Group 5">
            <a:extLst>
              <a:ext uri="{FF2B5EF4-FFF2-40B4-BE49-F238E27FC236}">
                <a16:creationId xmlns:a16="http://schemas.microsoft.com/office/drawing/2014/main" id="{32516C21-B8C3-FC3C-C341-EA9A3FAE34B9}"/>
              </a:ext>
            </a:extLst>
          </p:cNvPr>
          <p:cNvGrpSpPr/>
          <p:nvPr/>
        </p:nvGrpSpPr>
        <p:grpSpPr>
          <a:xfrm>
            <a:off x="624986" y="2129977"/>
            <a:ext cx="2745211" cy="1800000"/>
            <a:chOff x="0" y="0"/>
            <a:chExt cx="1231847" cy="668027"/>
          </a:xfrm>
        </p:grpSpPr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37CC2974-22B0-EB3E-1338-0E0FB9282C4D}"/>
                </a:ext>
              </a:extLst>
            </p:cNvPr>
            <p:cNvSpPr/>
            <p:nvPr/>
          </p:nvSpPr>
          <p:spPr>
            <a:xfrm>
              <a:off x="0" y="0"/>
              <a:ext cx="1231847" cy="668027"/>
            </a:xfrm>
            <a:custGeom>
              <a:avLst/>
              <a:gdLst/>
              <a:ahLst/>
              <a:cxnLst/>
              <a:rect l="l" t="t" r="r" b="b"/>
              <a:pathLst>
                <a:path w="1231847" h="668027">
                  <a:moveTo>
                    <a:pt x="0" y="0"/>
                  </a:moveTo>
                  <a:lnTo>
                    <a:pt x="1231847" y="0"/>
                  </a:lnTo>
                  <a:lnTo>
                    <a:pt x="1231847" y="668027"/>
                  </a:lnTo>
                  <a:lnTo>
                    <a:pt x="0" y="668027"/>
                  </a:lnTo>
                  <a:close/>
                </a:path>
              </a:pathLst>
            </a:custGeom>
            <a:solidFill>
              <a:srgbClr val="FFFFFF"/>
            </a:solidFill>
            <a:ln w="9525" cap="sq">
              <a:solidFill>
                <a:srgbClr val="E3E4E0"/>
              </a:solidFill>
              <a:prstDash val="solid"/>
              <a:miter/>
            </a:ln>
          </p:spPr>
          <p:txBody>
            <a:bodyPr/>
            <a:lstStyle/>
            <a:p>
              <a:endParaRPr lang="ko-KR" altLang="en-US" sz="867"/>
            </a:p>
          </p:txBody>
        </p:sp>
        <p:sp>
          <p:nvSpPr>
            <p:cNvPr id="24" name="TextBox 7">
              <a:extLst>
                <a:ext uri="{FF2B5EF4-FFF2-40B4-BE49-F238E27FC236}">
                  <a16:creationId xmlns:a16="http://schemas.microsoft.com/office/drawing/2014/main" id="{8102DFC2-3F77-B1E5-FEB4-6E5679A40FEA}"/>
                </a:ext>
              </a:extLst>
            </p:cNvPr>
            <p:cNvSpPr txBox="1"/>
            <p:nvPr/>
          </p:nvSpPr>
          <p:spPr>
            <a:xfrm>
              <a:off x="0" y="-47625"/>
              <a:ext cx="1231847" cy="715652"/>
            </a:xfrm>
            <a:prstGeom prst="rect">
              <a:avLst/>
            </a:prstGeom>
          </p:spPr>
          <p:txBody>
            <a:bodyPr lIns="38677" tIns="38677" rIns="38677" bIns="38677" rtlCol="0" anchor="ctr"/>
            <a:lstStyle/>
            <a:p>
              <a:pPr algn="ctr">
                <a:lnSpc>
                  <a:spcPts val="1989"/>
                </a:lnSpc>
              </a:pPr>
              <a:endParaRPr sz="867"/>
            </a:p>
          </p:txBody>
        </p:sp>
      </p:grpSp>
      <p:sp>
        <p:nvSpPr>
          <p:cNvPr id="34" name="TextBox 21">
            <a:extLst>
              <a:ext uri="{FF2B5EF4-FFF2-40B4-BE49-F238E27FC236}">
                <a16:creationId xmlns:a16="http://schemas.microsoft.com/office/drawing/2014/main" id="{1983DB43-2AAC-7392-01F2-74052137DC3D}"/>
              </a:ext>
            </a:extLst>
          </p:cNvPr>
          <p:cNvSpPr txBox="1"/>
          <p:nvPr/>
        </p:nvSpPr>
        <p:spPr>
          <a:xfrm>
            <a:off x="854111" y="2709886"/>
            <a:ext cx="2300400" cy="804964"/>
          </a:xfrm>
          <a:prstGeom prst="rect">
            <a:avLst/>
          </a:prstGeom>
        </p:spPr>
        <p:txBody>
          <a:bodyPr wrap="square" lIns="36000" tIns="0" rIns="0" bIns="0" rtlCol="0" anchor="t">
            <a:spAutoFit/>
          </a:bodyPr>
          <a:lstStyle/>
          <a:p>
            <a:pPr>
              <a:lnSpc>
                <a:spcPts val="1600"/>
              </a:lnSpc>
              <a:spcBef>
                <a:spcPct val="0"/>
              </a:spcBef>
            </a:pPr>
            <a:r>
              <a:rPr lang="en-US" altLang="ko-KR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Mendix Certification</a:t>
            </a:r>
            <a:r>
              <a:rPr lang="ko-KR" altLang="en-US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을 보유한 숙련된 개발자들로 구성된 전담 팀을 통해 전문적이고 체계적인 서비스</a:t>
            </a:r>
            <a:r>
              <a:rPr lang="en-US" altLang="ko-KR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, </a:t>
            </a:r>
            <a:r>
              <a:rPr lang="ko-KR" altLang="en-US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최고 수준의 서비스를 제공합니다</a:t>
            </a:r>
            <a:r>
              <a:rPr lang="en-US" altLang="ko-KR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.</a:t>
            </a:r>
          </a:p>
        </p:txBody>
      </p:sp>
      <p:sp>
        <p:nvSpPr>
          <p:cNvPr id="38" name="TextBox 25">
            <a:extLst>
              <a:ext uri="{FF2B5EF4-FFF2-40B4-BE49-F238E27FC236}">
                <a16:creationId xmlns:a16="http://schemas.microsoft.com/office/drawing/2014/main" id="{2581B80A-5470-57A0-8BCC-8391ECD25F5A}"/>
              </a:ext>
            </a:extLst>
          </p:cNvPr>
          <p:cNvSpPr txBox="1"/>
          <p:nvPr/>
        </p:nvSpPr>
        <p:spPr>
          <a:xfrm>
            <a:off x="854111" y="2359039"/>
            <a:ext cx="2140200" cy="2203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705"/>
              </a:lnSpc>
            </a:pPr>
            <a:r>
              <a:rPr lang="ko-KR" altLang="en-US" sz="1400" b="1" spc="-100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검증된 전문성</a:t>
            </a:r>
            <a:endParaRPr lang="en-US" altLang="ko-KR" sz="1400" b="1" spc="-100" dirty="0">
              <a:latin typeface="나눔스퀘어 네오 Bold" panose="00000800000000000000" pitchFamily="2" charset="-127"/>
              <a:ea typeface="나눔스퀘어 네오 Bold" panose="00000800000000000000" pitchFamily="2" charset="-127"/>
              <a:cs typeface="Source Han Sans KR Medium"/>
              <a:sym typeface="Source Han Sans KR Medium"/>
            </a:endParaRPr>
          </a:p>
        </p:txBody>
      </p:sp>
      <p:grpSp>
        <p:nvGrpSpPr>
          <p:cNvPr id="25" name="Group 8">
            <a:extLst>
              <a:ext uri="{FF2B5EF4-FFF2-40B4-BE49-F238E27FC236}">
                <a16:creationId xmlns:a16="http://schemas.microsoft.com/office/drawing/2014/main" id="{3CFDDF4E-CBBA-A9C6-FCAB-786606366BD8}"/>
              </a:ext>
            </a:extLst>
          </p:cNvPr>
          <p:cNvGrpSpPr/>
          <p:nvPr/>
        </p:nvGrpSpPr>
        <p:grpSpPr>
          <a:xfrm>
            <a:off x="624986" y="4076851"/>
            <a:ext cx="2746800" cy="1800000"/>
            <a:chOff x="0" y="0"/>
            <a:chExt cx="1231847" cy="668027"/>
          </a:xfrm>
        </p:grpSpPr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9971767D-4324-4B75-7B66-7C3CD1CAD0CA}"/>
                </a:ext>
              </a:extLst>
            </p:cNvPr>
            <p:cNvSpPr/>
            <p:nvPr/>
          </p:nvSpPr>
          <p:spPr>
            <a:xfrm>
              <a:off x="0" y="0"/>
              <a:ext cx="1231847" cy="668027"/>
            </a:xfrm>
            <a:custGeom>
              <a:avLst/>
              <a:gdLst/>
              <a:ahLst/>
              <a:cxnLst/>
              <a:rect l="l" t="t" r="r" b="b"/>
              <a:pathLst>
                <a:path w="1231847" h="668027">
                  <a:moveTo>
                    <a:pt x="0" y="0"/>
                  </a:moveTo>
                  <a:lnTo>
                    <a:pt x="1231847" y="0"/>
                  </a:lnTo>
                  <a:lnTo>
                    <a:pt x="1231847" y="668027"/>
                  </a:lnTo>
                  <a:lnTo>
                    <a:pt x="0" y="668027"/>
                  </a:lnTo>
                  <a:close/>
                </a:path>
              </a:pathLst>
            </a:custGeom>
            <a:solidFill>
              <a:srgbClr val="FFFFFF"/>
            </a:solidFill>
            <a:ln w="9525" cap="sq">
              <a:solidFill>
                <a:srgbClr val="E3E4E0"/>
              </a:solidFill>
              <a:prstDash val="solid"/>
              <a:miter/>
            </a:ln>
          </p:spPr>
          <p:txBody>
            <a:bodyPr/>
            <a:lstStyle/>
            <a:p>
              <a:endParaRPr lang="ko-KR" altLang="en-US" sz="867" dirty="0"/>
            </a:p>
          </p:txBody>
        </p:sp>
        <p:sp>
          <p:nvSpPr>
            <p:cNvPr id="27" name="TextBox 10">
              <a:extLst>
                <a:ext uri="{FF2B5EF4-FFF2-40B4-BE49-F238E27FC236}">
                  <a16:creationId xmlns:a16="http://schemas.microsoft.com/office/drawing/2014/main" id="{9CE833AD-E9DD-B53C-C048-4A25FB3A5725}"/>
                </a:ext>
              </a:extLst>
            </p:cNvPr>
            <p:cNvSpPr txBox="1"/>
            <p:nvPr/>
          </p:nvSpPr>
          <p:spPr>
            <a:xfrm>
              <a:off x="0" y="-47625"/>
              <a:ext cx="1231847" cy="715652"/>
            </a:xfrm>
            <a:prstGeom prst="rect">
              <a:avLst/>
            </a:prstGeom>
          </p:spPr>
          <p:txBody>
            <a:bodyPr lIns="38677" tIns="38677" rIns="38677" bIns="38677" rtlCol="0" anchor="ctr"/>
            <a:lstStyle/>
            <a:p>
              <a:pPr algn="ctr">
                <a:lnSpc>
                  <a:spcPts val="1989"/>
                </a:lnSpc>
              </a:pPr>
              <a:endParaRPr sz="867"/>
            </a:p>
          </p:txBody>
        </p:sp>
      </p:grpSp>
      <p:sp>
        <p:nvSpPr>
          <p:cNvPr id="35" name="TextBox 22">
            <a:extLst>
              <a:ext uri="{FF2B5EF4-FFF2-40B4-BE49-F238E27FC236}">
                <a16:creationId xmlns:a16="http://schemas.microsoft.com/office/drawing/2014/main" id="{29D6E98A-D6B3-4690-4E39-BE7F7B2C274E}"/>
              </a:ext>
            </a:extLst>
          </p:cNvPr>
          <p:cNvSpPr txBox="1"/>
          <p:nvPr/>
        </p:nvSpPr>
        <p:spPr>
          <a:xfrm>
            <a:off x="854111" y="4666285"/>
            <a:ext cx="2300400" cy="1010148"/>
          </a:xfrm>
          <a:prstGeom prst="rect">
            <a:avLst/>
          </a:prstGeom>
        </p:spPr>
        <p:txBody>
          <a:bodyPr wrap="square" lIns="36000" tIns="0" rIns="0" bIns="0" rtlCol="0" anchor="t">
            <a:spAutoFit/>
          </a:bodyPr>
          <a:lstStyle/>
          <a:p>
            <a:pPr>
              <a:lnSpc>
                <a:spcPts val="1600"/>
              </a:lnSpc>
              <a:spcBef>
                <a:spcPct val="0"/>
              </a:spcBef>
            </a:pPr>
            <a:r>
              <a:rPr lang="en-US" altLang="ko-KR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Mendix </a:t>
            </a:r>
            <a:r>
              <a:rPr lang="ko-KR" altLang="en-US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플랫폼을 활용하여 개발 기간을 단축하고</a:t>
            </a:r>
            <a:r>
              <a:rPr lang="en-US" altLang="ko-KR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, </a:t>
            </a:r>
            <a:r>
              <a:rPr lang="ko-KR" altLang="en-US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빠르게 변화하는 비즈니스 환경에 신속하게 대응합니다</a:t>
            </a:r>
            <a:r>
              <a:rPr lang="en-US" altLang="ko-KR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.</a:t>
            </a:r>
          </a:p>
          <a:p>
            <a:pPr>
              <a:lnSpc>
                <a:spcPts val="1600"/>
              </a:lnSpc>
              <a:spcBef>
                <a:spcPct val="0"/>
              </a:spcBef>
            </a:pPr>
            <a:r>
              <a:rPr lang="ko-KR" altLang="en-US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고객의 비즈니스 환경과 요구사항을 정확히 분석하여 최적화된 솔루션을 제시합니다</a:t>
            </a:r>
            <a:r>
              <a:rPr lang="en-US" altLang="ko-KR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.</a:t>
            </a:r>
          </a:p>
        </p:txBody>
      </p:sp>
      <p:sp>
        <p:nvSpPr>
          <p:cNvPr id="39" name="TextBox 26">
            <a:extLst>
              <a:ext uri="{FF2B5EF4-FFF2-40B4-BE49-F238E27FC236}">
                <a16:creationId xmlns:a16="http://schemas.microsoft.com/office/drawing/2014/main" id="{EA2BCA30-9AE9-7A86-8C3C-49707090865F}"/>
              </a:ext>
            </a:extLst>
          </p:cNvPr>
          <p:cNvSpPr txBox="1"/>
          <p:nvPr/>
        </p:nvSpPr>
        <p:spPr>
          <a:xfrm>
            <a:off x="854111" y="4305913"/>
            <a:ext cx="2140200" cy="2203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705"/>
              </a:lnSpc>
            </a:pPr>
            <a:r>
              <a:rPr lang="ko-KR" altLang="en-US" sz="1400" b="1" spc="-100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개발 및 테스트</a:t>
            </a:r>
            <a:endParaRPr lang="en-US" sz="1400" b="1" spc="-100" dirty="0">
              <a:latin typeface="나눔스퀘어 네오 Bold" panose="00000800000000000000" pitchFamily="2" charset="-127"/>
              <a:ea typeface="나눔스퀘어 네오 Bold" panose="00000800000000000000" pitchFamily="2" charset="-127"/>
              <a:cs typeface="Source Han Sans KR Medium"/>
              <a:sym typeface="Source Han Sans KR Medium"/>
            </a:endParaRPr>
          </a:p>
        </p:txBody>
      </p:sp>
      <p:sp>
        <p:nvSpPr>
          <p:cNvPr id="40" name="TextBox 27">
            <a:extLst>
              <a:ext uri="{FF2B5EF4-FFF2-40B4-BE49-F238E27FC236}">
                <a16:creationId xmlns:a16="http://schemas.microsoft.com/office/drawing/2014/main" id="{8AC46C88-2AE8-E47E-340E-EF37BF96072D}"/>
              </a:ext>
            </a:extLst>
          </p:cNvPr>
          <p:cNvSpPr txBox="1"/>
          <p:nvPr/>
        </p:nvSpPr>
        <p:spPr>
          <a:xfrm>
            <a:off x="3806209" y="2359039"/>
            <a:ext cx="2140200" cy="2203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705"/>
              </a:lnSpc>
            </a:pPr>
            <a:r>
              <a:rPr lang="ko-KR" altLang="en-US" sz="1400" b="1" spc="-100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금융 </a:t>
            </a:r>
            <a:r>
              <a:rPr lang="en-US" altLang="ko-KR" sz="1400" b="1" spc="-100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IT </a:t>
            </a:r>
            <a:r>
              <a:rPr lang="ko-KR" altLang="en-US" sz="1400" b="1" spc="-100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전문성</a:t>
            </a:r>
            <a:endParaRPr lang="en-US" altLang="ko-KR" sz="1400" b="1" spc="-100" dirty="0">
              <a:latin typeface="나눔스퀘어 네오 Bold" panose="00000800000000000000" pitchFamily="2" charset="-127"/>
              <a:ea typeface="나눔스퀘어 네오 Bold" panose="00000800000000000000" pitchFamily="2" charset="-127"/>
              <a:cs typeface="Source Han Sans KR Medium"/>
              <a:sym typeface="Source Han Sans KR Medium"/>
            </a:endParaRPr>
          </a:p>
        </p:txBody>
      </p:sp>
      <p:sp>
        <p:nvSpPr>
          <p:cNvPr id="41" name="TextBox 28">
            <a:extLst>
              <a:ext uri="{FF2B5EF4-FFF2-40B4-BE49-F238E27FC236}">
                <a16:creationId xmlns:a16="http://schemas.microsoft.com/office/drawing/2014/main" id="{22387CA3-13EE-49DA-A6FA-5ABDAB6B8A25}"/>
              </a:ext>
            </a:extLst>
          </p:cNvPr>
          <p:cNvSpPr txBox="1"/>
          <p:nvPr/>
        </p:nvSpPr>
        <p:spPr>
          <a:xfrm>
            <a:off x="3806209" y="4305913"/>
            <a:ext cx="2140200" cy="2203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705"/>
              </a:lnSpc>
            </a:pPr>
            <a:r>
              <a:rPr lang="ko-KR" altLang="en-US" sz="1400" b="1" spc="-100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지속적인 지원</a:t>
            </a:r>
            <a:endParaRPr lang="en-US" sz="1400" b="1" spc="-100" dirty="0">
              <a:latin typeface="나눔스퀘어 네오 Bold" panose="00000800000000000000" pitchFamily="2" charset="-127"/>
              <a:ea typeface="나눔스퀘어 네오 Bold" panose="00000800000000000000" pitchFamily="2" charset="-127"/>
              <a:cs typeface="Source Han Sans KR Medium"/>
              <a:sym typeface="Source Han Sans KR Medium"/>
            </a:endParaRPr>
          </a:p>
        </p:txBody>
      </p:sp>
      <p:sp>
        <p:nvSpPr>
          <p:cNvPr id="42" name="TextBox 30">
            <a:extLst>
              <a:ext uri="{FF2B5EF4-FFF2-40B4-BE49-F238E27FC236}">
                <a16:creationId xmlns:a16="http://schemas.microsoft.com/office/drawing/2014/main" id="{2B64AD5E-B409-79D9-B4DA-44DE484F173F}"/>
              </a:ext>
            </a:extLst>
          </p:cNvPr>
          <p:cNvSpPr txBox="1"/>
          <p:nvPr/>
        </p:nvSpPr>
        <p:spPr>
          <a:xfrm>
            <a:off x="1457075" y="1291719"/>
            <a:ext cx="6991850" cy="246221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/>
            <a:r>
              <a:rPr lang="en-US" altLang="ko-KR" sz="1600" spc="-109" dirty="0">
                <a:solidFill>
                  <a:srgbClr val="F4F4F4"/>
                </a:solidFill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Mendix</a:t>
            </a:r>
            <a:r>
              <a:rPr lang="ko-KR" altLang="en-US" sz="1600" spc="-109" dirty="0">
                <a:solidFill>
                  <a:srgbClr val="F4F4F4"/>
                </a:solidFill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 공식 파트너사인 </a:t>
            </a:r>
            <a:r>
              <a:rPr lang="ko-KR" altLang="en-US" sz="1600" spc="-109" dirty="0" err="1">
                <a:solidFill>
                  <a:srgbClr val="F4F4F4"/>
                </a:solidFill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뱅가드랩의</a:t>
            </a:r>
            <a:r>
              <a:rPr lang="ko-KR" altLang="en-US" sz="1600" spc="-109" dirty="0">
                <a:solidFill>
                  <a:srgbClr val="F4F4F4"/>
                </a:solidFill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 뛰어난 </a:t>
            </a:r>
            <a:r>
              <a:rPr lang="ko-KR" altLang="en-US" sz="1600" spc="-109" dirty="0" err="1">
                <a:solidFill>
                  <a:srgbClr val="F4F4F4"/>
                </a:solidFill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멘딕스</a:t>
            </a:r>
            <a:r>
              <a:rPr lang="ko-KR" altLang="en-US" sz="1600" spc="-109" dirty="0">
                <a:solidFill>
                  <a:srgbClr val="F4F4F4"/>
                </a:solidFill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 전문가들이 제공하는 서비스 입니다</a:t>
            </a:r>
            <a:r>
              <a:rPr lang="en-US" altLang="ko-KR" sz="1600" spc="-109" dirty="0">
                <a:solidFill>
                  <a:srgbClr val="F4F4F4"/>
                </a:solidFill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.</a:t>
            </a:r>
          </a:p>
        </p:txBody>
      </p:sp>
      <p:grpSp>
        <p:nvGrpSpPr>
          <p:cNvPr id="43" name="Group 31">
            <a:extLst>
              <a:ext uri="{FF2B5EF4-FFF2-40B4-BE49-F238E27FC236}">
                <a16:creationId xmlns:a16="http://schemas.microsoft.com/office/drawing/2014/main" id="{5217A665-F6E7-587A-0460-786571EC4A16}"/>
              </a:ext>
            </a:extLst>
          </p:cNvPr>
          <p:cNvGrpSpPr/>
          <p:nvPr/>
        </p:nvGrpSpPr>
        <p:grpSpPr>
          <a:xfrm>
            <a:off x="6529182" y="2129977"/>
            <a:ext cx="2746800" cy="1800000"/>
            <a:chOff x="0" y="0"/>
            <a:chExt cx="1231847" cy="668027"/>
          </a:xfrm>
        </p:grpSpPr>
        <p:sp>
          <p:nvSpPr>
            <p:cNvPr id="44" name="Freeform 32">
              <a:extLst>
                <a:ext uri="{FF2B5EF4-FFF2-40B4-BE49-F238E27FC236}">
                  <a16:creationId xmlns:a16="http://schemas.microsoft.com/office/drawing/2014/main" id="{C914C059-FC7D-C429-A208-EAE0DB4DD44D}"/>
                </a:ext>
              </a:extLst>
            </p:cNvPr>
            <p:cNvSpPr/>
            <p:nvPr/>
          </p:nvSpPr>
          <p:spPr>
            <a:xfrm>
              <a:off x="0" y="0"/>
              <a:ext cx="1231847" cy="668027"/>
            </a:xfrm>
            <a:custGeom>
              <a:avLst/>
              <a:gdLst/>
              <a:ahLst/>
              <a:cxnLst/>
              <a:rect l="l" t="t" r="r" b="b"/>
              <a:pathLst>
                <a:path w="1231847" h="668027">
                  <a:moveTo>
                    <a:pt x="0" y="0"/>
                  </a:moveTo>
                  <a:lnTo>
                    <a:pt x="1231847" y="0"/>
                  </a:lnTo>
                  <a:lnTo>
                    <a:pt x="1231847" y="668027"/>
                  </a:lnTo>
                  <a:lnTo>
                    <a:pt x="0" y="668027"/>
                  </a:lnTo>
                  <a:close/>
                </a:path>
              </a:pathLst>
            </a:custGeom>
            <a:solidFill>
              <a:srgbClr val="FFFFFF"/>
            </a:solidFill>
            <a:ln w="9525" cap="sq">
              <a:solidFill>
                <a:srgbClr val="E3E4E0"/>
              </a:solidFill>
              <a:prstDash val="solid"/>
              <a:miter/>
            </a:ln>
          </p:spPr>
          <p:txBody>
            <a:bodyPr/>
            <a:lstStyle/>
            <a:p>
              <a:endParaRPr lang="ko-KR" altLang="en-US" sz="867"/>
            </a:p>
          </p:txBody>
        </p:sp>
        <p:sp>
          <p:nvSpPr>
            <p:cNvPr id="45" name="TextBox 33">
              <a:extLst>
                <a:ext uri="{FF2B5EF4-FFF2-40B4-BE49-F238E27FC236}">
                  <a16:creationId xmlns:a16="http://schemas.microsoft.com/office/drawing/2014/main" id="{431347CD-95CE-DB50-AE2A-3CDD3B3A040E}"/>
                </a:ext>
              </a:extLst>
            </p:cNvPr>
            <p:cNvSpPr txBox="1"/>
            <p:nvPr/>
          </p:nvSpPr>
          <p:spPr>
            <a:xfrm>
              <a:off x="0" y="-47625"/>
              <a:ext cx="1231847" cy="715652"/>
            </a:xfrm>
            <a:prstGeom prst="rect">
              <a:avLst/>
            </a:prstGeom>
          </p:spPr>
          <p:txBody>
            <a:bodyPr lIns="38677" tIns="38677" rIns="38677" bIns="38677" rtlCol="0" anchor="ctr"/>
            <a:lstStyle/>
            <a:p>
              <a:pPr algn="ctr">
                <a:lnSpc>
                  <a:spcPts val="1989"/>
                </a:lnSpc>
              </a:pPr>
              <a:endParaRPr sz="867"/>
            </a:p>
          </p:txBody>
        </p:sp>
      </p:grpSp>
      <p:grpSp>
        <p:nvGrpSpPr>
          <p:cNvPr id="46" name="Group 34">
            <a:extLst>
              <a:ext uri="{FF2B5EF4-FFF2-40B4-BE49-F238E27FC236}">
                <a16:creationId xmlns:a16="http://schemas.microsoft.com/office/drawing/2014/main" id="{6A0A20FF-2A26-BE30-5D91-3629C87A9C75}"/>
              </a:ext>
            </a:extLst>
          </p:cNvPr>
          <p:cNvGrpSpPr/>
          <p:nvPr/>
        </p:nvGrpSpPr>
        <p:grpSpPr>
          <a:xfrm>
            <a:off x="6529182" y="4076851"/>
            <a:ext cx="2746800" cy="1800000"/>
            <a:chOff x="0" y="0"/>
            <a:chExt cx="1231847" cy="668027"/>
          </a:xfrm>
        </p:grpSpPr>
        <p:sp>
          <p:nvSpPr>
            <p:cNvPr id="47" name="Freeform 35">
              <a:extLst>
                <a:ext uri="{FF2B5EF4-FFF2-40B4-BE49-F238E27FC236}">
                  <a16:creationId xmlns:a16="http://schemas.microsoft.com/office/drawing/2014/main" id="{1A983F1E-D91C-A62D-F165-21E76974C456}"/>
                </a:ext>
              </a:extLst>
            </p:cNvPr>
            <p:cNvSpPr/>
            <p:nvPr/>
          </p:nvSpPr>
          <p:spPr>
            <a:xfrm>
              <a:off x="0" y="0"/>
              <a:ext cx="1231847" cy="668027"/>
            </a:xfrm>
            <a:custGeom>
              <a:avLst/>
              <a:gdLst/>
              <a:ahLst/>
              <a:cxnLst/>
              <a:rect l="l" t="t" r="r" b="b"/>
              <a:pathLst>
                <a:path w="1231847" h="668027">
                  <a:moveTo>
                    <a:pt x="0" y="0"/>
                  </a:moveTo>
                  <a:lnTo>
                    <a:pt x="1231847" y="0"/>
                  </a:lnTo>
                  <a:lnTo>
                    <a:pt x="1231847" y="668027"/>
                  </a:lnTo>
                  <a:lnTo>
                    <a:pt x="0" y="668027"/>
                  </a:lnTo>
                  <a:close/>
                </a:path>
              </a:pathLst>
            </a:custGeom>
            <a:solidFill>
              <a:srgbClr val="FFFFFF"/>
            </a:solidFill>
            <a:ln w="9525" cap="sq">
              <a:solidFill>
                <a:srgbClr val="E3E4E0"/>
              </a:solidFill>
              <a:prstDash val="solid"/>
              <a:miter/>
            </a:ln>
          </p:spPr>
          <p:txBody>
            <a:bodyPr/>
            <a:lstStyle/>
            <a:p>
              <a:endParaRPr lang="ko-KR" altLang="en-US" sz="867"/>
            </a:p>
          </p:txBody>
        </p:sp>
        <p:sp>
          <p:nvSpPr>
            <p:cNvPr id="48" name="TextBox 36">
              <a:extLst>
                <a:ext uri="{FF2B5EF4-FFF2-40B4-BE49-F238E27FC236}">
                  <a16:creationId xmlns:a16="http://schemas.microsoft.com/office/drawing/2014/main" id="{AD5EE9CD-40CA-3C39-9706-8384A9B05FC2}"/>
                </a:ext>
              </a:extLst>
            </p:cNvPr>
            <p:cNvSpPr txBox="1"/>
            <p:nvPr/>
          </p:nvSpPr>
          <p:spPr>
            <a:xfrm>
              <a:off x="0" y="-47625"/>
              <a:ext cx="1231847" cy="715652"/>
            </a:xfrm>
            <a:prstGeom prst="rect">
              <a:avLst/>
            </a:prstGeom>
          </p:spPr>
          <p:txBody>
            <a:bodyPr lIns="38677" tIns="38677" rIns="38677" bIns="38677" rtlCol="0" anchor="ctr"/>
            <a:lstStyle/>
            <a:p>
              <a:pPr algn="ctr">
                <a:lnSpc>
                  <a:spcPts val="1989"/>
                </a:lnSpc>
              </a:pPr>
              <a:endParaRPr sz="867"/>
            </a:p>
          </p:txBody>
        </p:sp>
      </p:grpSp>
      <p:sp>
        <p:nvSpPr>
          <p:cNvPr id="49" name="TextBox 37">
            <a:extLst>
              <a:ext uri="{FF2B5EF4-FFF2-40B4-BE49-F238E27FC236}">
                <a16:creationId xmlns:a16="http://schemas.microsoft.com/office/drawing/2014/main" id="{2B6D99B6-A512-4B9A-BB1A-CC90B1603C0A}"/>
              </a:ext>
            </a:extLst>
          </p:cNvPr>
          <p:cNvSpPr txBox="1"/>
          <p:nvPr/>
        </p:nvSpPr>
        <p:spPr>
          <a:xfrm>
            <a:off x="6758308" y="2709886"/>
            <a:ext cx="2300400" cy="599780"/>
          </a:xfrm>
          <a:prstGeom prst="rect">
            <a:avLst/>
          </a:prstGeom>
        </p:spPr>
        <p:txBody>
          <a:bodyPr wrap="square" lIns="36000" tIns="0" rIns="0" bIns="0" rtlCol="0" anchor="t">
            <a:spAutoFit/>
          </a:bodyPr>
          <a:lstStyle/>
          <a:p>
            <a:pPr>
              <a:lnSpc>
                <a:spcPts val="1600"/>
              </a:lnSpc>
              <a:spcBef>
                <a:spcPct val="0"/>
              </a:spcBef>
            </a:pPr>
            <a:r>
              <a:rPr lang="en-US" altLang="ko-KR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Mendix </a:t>
            </a:r>
            <a:r>
              <a:rPr lang="ko-KR" altLang="en-US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도입 전략 수립부터 시스템 구축</a:t>
            </a:r>
            <a:r>
              <a:rPr lang="en-US" altLang="ko-KR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, </a:t>
            </a:r>
            <a:r>
              <a:rPr lang="ko-KR" altLang="en-US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운영까지 전 과정에 대한 전문적인 컨설팅을 제공합니다</a:t>
            </a:r>
            <a:r>
              <a:rPr lang="en-US" altLang="ko-KR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.</a:t>
            </a:r>
            <a:endParaRPr lang="en-US" sz="1000" spc="-51" dirty="0">
              <a:latin typeface="나눔스퀘어 네오 Regular" panose="00000500000000000000" pitchFamily="2" charset="-127"/>
              <a:ea typeface="나눔스퀘어 네오 Regular" panose="00000500000000000000" pitchFamily="2" charset="-127"/>
              <a:cs typeface="Source Han Sans KR"/>
              <a:sym typeface="Source Han Sans KR"/>
            </a:endParaRPr>
          </a:p>
        </p:txBody>
      </p:sp>
      <p:sp>
        <p:nvSpPr>
          <p:cNvPr id="50" name="TextBox 38">
            <a:extLst>
              <a:ext uri="{FF2B5EF4-FFF2-40B4-BE49-F238E27FC236}">
                <a16:creationId xmlns:a16="http://schemas.microsoft.com/office/drawing/2014/main" id="{52877644-1B33-57F0-A7B7-99B6562FCA7D}"/>
              </a:ext>
            </a:extLst>
          </p:cNvPr>
          <p:cNvSpPr txBox="1"/>
          <p:nvPr/>
        </p:nvSpPr>
        <p:spPr>
          <a:xfrm>
            <a:off x="6758308" y="4666285"/>
            <a:ext cx="2300400" cy="599780"/>
          </a:xfrm>
          <a:prstGeom prst="rect">
            <a:avLst/>
          </a:prstGeom>
        </p:spPr>
        <p:txBody>
          <a:bodyPr wrap="square" lIns="36000" tIns="0" rIns="0" bIns="0" rtlCol="0" anchor="t">
            <a:spAutoFit/>
          </a:bodyPr>
          <a:lstStyle/>
          <a:p>
            <a:pPr>
              <a:lnSpc>
                <a:spcPts val="1600"/>
              </a:lnSpc>
              <a:spcBef>
                <a:spcPct val="0"/>
              </a:spcBef>
            </a:pPr>
            <a:r>
              <a:rPr lang="en-US" altLang="ko-KR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Mendix </a:t>
            </a:r>
            <a:r>
              <a:rPr lang="ko-KR" altLang="en-US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플랫폼 활용 역량 강화를 위한 교육 프로그램을 제공합니다</a:t>
            </a:r>
            <a:r>
              <a:rPr lang="en-US" altLang="ko-KR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. </a:t>
            </a:r>
            <a:r>
              <a:rPr lang="ko-KR" altLang="en-US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금융권 실무 경험을 바탕으로 실질적인 교육을 제공합니다</a:t>
            </a:r>
            <a:r>
              <a:rPr lang="en-US" altLang="ko-KR" sz="1000" spc="-51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"/>
                <a:sym typeface="Source Han Sans KR"/>
              </a:rPr>
              <a:t>.</a:t>
            </a:r>
            <a:endParaRPr lang="en-US" sz="1000" spc="-51" dirty="0">
              <a:latin typeface="나눔스퀘어 네오 Regular" panose="00000500000000000000" pitchFamily="2" charset="-127"/>
              <a:ea typeface="나눔스퀘어 네오 Regular" panose="00000500000000000000" pitchFamily="2" charset="-127"/>
              <a:cs typeface="Source Han Sans KR"/>
              <a:sym typeface="Source Han Sans KR"/>
            </a:endParaRPr>
          </a:p>
        </p:txBody>
      </p:sp>
      <p:sp>
        <p:nvSpPr>
          <p:cNvPr id="51" name="TextBox 39">
            <a:extLst>
              <a:ext uri="{FF2B5EF4-FFF2-40B4-BE49-F238E27FC236}">
                <a16:creationId xmlns:a16="http://schemas.microsoft.com/office/drawing/2014/main" id="{BFE156B4-F4F7-6B00-7077-66C814B34376}"/>
              </a:ext>
            </a:extLst>
          </p:cNvPr>
          <p:cNvSpPr txBox="1"/>
          <p:nvPr/>
        </p:nvSpPr>
        <p:spPr>
          <a:xfrm>
            <a:off x="6758308" y="2359039"/>
            <a:ext cx="2140200" cy="2203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705"/>
              </a:lnSpc>
            </a:pPr>
            <a:r>
              <a:rPr lang="en-US" altLang="ko-KR" sz="1400" b="1" spc="-100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Mendix</a:t>
            </a:r>
            <a:r>
              <a:rPr lang="ko-KR" altLang="en-US" sz="1400" b="1" spc="-100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 컨설팅</a:t>
            </a:r>
            <a:endParaRPr lang="en-US" altLang="ko-KR" sz="1400" b="1" spc="-100" dirty="0">
              <a:latin typeface="나눔스퀘어 네오 Bold" panose="00000800000000000000" pitchFamily="2" charset="-127"/>
              <a:ea typeface="나눔스퀘어 네오 Bold" panose="00000800000000000000" pitchFamily="2" charset="-127"/>
              <a:cs typeface="Source Han Sans KR Medium"/>
              <a:sym typeface="Source Han Sans KR Medium"/>
            </a:endParaRPr>
          </a:p>
        </p:txBody>
      </p:sp>
      <p:sp>
        <p:nvSpPr>
          <p:cNvPr id="52" name="TextBox 40">
            <a:extLst>
              <a:ext uri="{FF2B5EF4-FFF2-40B4-BE49-F238E27FC236}">
                <a16:creationId xmlns:a16="http://schemas.microsoft.com/office/drawing/2014/main" id="{0C01B4D3-6B1B-30CF-BDED-E6A9C493D183}"/>
              </a:ext>
            </a:extLst>
          </p:cNvPr>
          <p:cNvSpPr txBox="1"/>
          <p:nvPr/>
        </p:nvSpPr>
        <p:spPr>
          <a:xfrm>
            <a:off x="6758308" y="4305913"/>
            <a:ext cx="2140200" cy="2203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705"/>
              </a:lnSpc>
            </a:pPr>
            <a:r>
              <a:rPr lang="ko-KR" altLang="en-US" sz="1400" b="1" spc="-100" dirty="0"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실무 중심 교육</a:t>
            </a:r>
            <a:endParaRPr lang="en-US" sz="1400" b="1" spc="-100" dirty="0">
              <a:latin typeface="나눔스퀘어 네오 Bold" panose="00000800000000000000" pitchFamily="2" charset="-127"/>
              <a:ea typeface="나눔스퀘어 네오 Bold" panose="00000800000000000000" pitchFamily="2" charset="-127"/>
              <a:cs typeface="Source Han Sans KR Medium"/>
              <a:sym typeface="Source Han Sans KR Medium"/>
            </a:endParaRPr>
          </a:p>
        </p:txBody>
      </p:sp>
    </p:spTree>
    <p:extLst>
      <p:ext uri="{BB962C8B-B14F-4D97-AF65-F5344CB8AC3E}">
        <p14:creationId xmlns:p14="http://schemas.microsoft.com/office/powerpoint/2010/main" val="34070292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6CEF2AE8-9B00-6CD2-20C1-F443D21338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MENDIX TEAM</a:t>
            </a:r>
            <a:endParaRPr lang="ko-KR" altLang="en-US" dirty="0"/>
          </a:p>
        </p:txBody>
      </p:sp>
      <p:sp>
        <p:nvSpPr>
          <p:cNvPr id="64" name="TextBox 30">
            <a:extLst>
              <a:ext uri="{FF2B5EF4-FFF2-40B4-BE49-F238E27FC236}">
                <a16:creationId xmlns:a16="http://schemas.microsoft.com/office/drawing/2014/main" id="{E085C545-3577-5A03-5215-CE18589A88C8}"/>
              </a:ext>
            </a:extLst>
          </p:cNvPr>
          <p:cNvSpPr txBox="1"/>
          <p:nvPr/>
        </p:nvSpPr>
        <p:spPr>
          <a:xfrm>
            <a:off x="2932628" y="1271750"/>
            <a:ext cx="4058675" cy="4308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ko-KR" altLang="en-US" sz="2800" spc="-109" dirty="0">
                <a:solidFill>
                  <a:srgbClr val="4E4F50"/>
                </a:solidFill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우리는 변화의 주도자입니다</a:t>
            </a:r>
            <a:r>
              <a:rPr lang="en-US" altLang="ko-KR" sz="2800" spc="-109" dirty="0">
                <a:solidFill>
                  <a:srgbClr val="4E4F50"/>
                </a:solidFill>
                <a:latin typeface="나눔스퀘어 네오 Bold" panose="00000800000000000000" pitchFamily="2" charset="-127"/>
                <a:ea typeface="나눔스퀘어 네오 Bold" panose="00000800000000000000" pitchFamily="2" charset="-127"/>
                <a:cs typeface="Source Han Sans KR Medium"/>
                <a:sym typeface="Source Han Sans KR Medium"/>
              </a:rPr>
              <a:t>.</a:t>
            </a:r>
          </a:p>
        </p:txBody>
      </p: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D6435230-A5AD-DA41-A681-FC2CB2879656}"/>
              </a:ext>
            </a:extLst>
          </p:cNvPr>
          <p:cNvGrpSpPr/>
          <p:nvPr/>
        </p:nvGrpSpPr>
        <p:grpSpPr>
          <a:xfrm>
            <a:off x="555442" y="2618315"/>
            <a:ext cx="8802733" cy="1851026"/>
            <a:chOff x="555442" y="2770715"/>
            <a:chExt cx="8802733" cy="1851026"/>
          </a:xfrm>
        </p:grpSpPr>
        <p:sp>
          <p:nvSpPr>
            <p:cNvPr id="4" name="TextBox 15">
              <a:extLst>
                <a:ext uri="{FF2B5EF4-FFF2-40B4-BE49-F238E27FC236}">
                  <a16:creationId xmlns:a16="http://schemas.microsoft.com/office/drawing/2014/main" id="{E938D750-49C0-A6F1-5936-A6D9F87C5EF0}"/>
                </a:ext>
              </a:extLst>
            </p:cNvPr>
            <p:cNvSpPr txBox="1"/>
            <p:nvPr/>
          </p:nvSpPr>
          <p:spPr>
            <a:xfrm>
              <a:off x="555442" y="3983399"/>
              <a:ext cx="1316102" cy="21352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690"/>
                </a:lnSpc>
              </a:pPr>
              <a:r>
                <a:rPr lang="ko-KR" altLang="en-US" sz="1408" spc="7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Source Han Sans KR Bold"/>
                  <a:sym typeface="Source Han Sans KR Bold"/>
                </a:rPr>
                <a:t>박 민 지</a:t>
              </a:r>
              <a:endParaRPr lang="en-US" sz="1408" spc="7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Bold"/>
                <a:sym typeface="Source Han Sans KR Bold"/>
              </a:endParaRPr>
            </a:p>
          </p:txBody>
        </p:sp>
        <p:sp>
          <p:nvSpPr>
            <p:cNvPr id="5" name="TextBox 16">
              <a:extLst>
                <a:ext uri="{FF2B5EF4-FFF2-40B4-BE49-F238E27FC236}">
                  <a16:creationId xmlns:a16="http://schemas.microsoft.com/office/drawing/2014/main" id="{11150433-B713-BA08-66B8-C443BCB3CC1C}"/>
                </a:ext>
              </a:extLst>
            </p:cNvPr>
            <p:cNvSpPr txBox="1"/>
            <p:nvPr/>
          </p:nvSpPr>
          <p:spPr>
            <a:xfrm>
              <a:off x="555442" y="4446693"/>
              <a:ext cx="1316102" cy="17504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365"/>
                </a:lnSpc>
              </a:pPr>
              <a:r>
                <a:rPr lang="ko-KR" altLang="en-US" sz="1138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Open Sauce"/>
                  <a:sym typeface="Open Sauce"/>
                </a:rPr>
                <a:t>팀장</a:t>
              </a:r>
              <a:endParaRPr lang="en-US" sz="1138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Open Sauce"/>
                <a:sym typeface="Open Sauce"/>
              </a:endParaRPr>
            </a:p>
          </p:txBody>
        </p:sp>
        <p:sp>
          <p:nvSpPr>
            <p:cNvPr id="6" name="AutoShape 17">
              <a:extLst>
                <a:ext uri="{FF2B5EF4-FFF2-40B4-BE49-F238E27FC236}">
                  <a16:creationId xmlns:a16="http://schemas.microsoft.com/office/drawing/2014/main" id="{1B66B6A2-6F82-6736-6FC9-405690364C40}"/>
                </a:ext>
              </a:extLst>
            </p:cNvPr>
            <p:cNvSpPr/>
            <p:nvPr/>
          </p:nvSpPr>
          <p:spPr>
            <a:xfrm>
              <a:off x="763828" y="4317612"/>
              <a:ext cx="899335" cy="0"/>
            </a:xfrm>
            <a:prstGeom prst="line">
              <a:avLst/>
            </a:prstGeom>
            <a:ln w="19050" cap="flat">
              <a:solidFill>
                <a:srgbClr val="4E4F50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ko-KR" altLang="en-US">
                <a:latin typeface="나눔스퀘어 네오 Regular" panose="00000500000000000000" pitchFamily="2" charset="-127"/>
                <a:ea typeface="나눔스퀘어 네오 Regular" panose="00000500000000000000" pitchFamily="2" charset="-127"/>
              </a:endParaRPr>
            </a:p>
          </p:txBody>
        </p:sp>
        <p:sp>
          <p:nvSpPr>
            <p:cNvPr id="7" name="TextBox 18">
              <a:extLst>
                <a:ext uri="{FF2B5EF4-FFF2-40B4-BE49-F238E27FC236}">
                  <a16:creationId xmlns:a16="http://schemas.microsoft.com/office/drawing/2014/main" id="{B9C9CE52-B029-A99B-5F3E-CAF357124942}"/>
                </a:ext>
              </a:extLst>
            </p:cNvPr>
            <p:cNvSpPr txBox="1"/>
            <p:nvPr/>
          </p:nvSpPr>
          <p:spPr>
            <a:xfrm>
              <a:off x="2052768" y="3983399"/>
              <a:ext cx="1316102" cy="21352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690"/>
                </a:lnSpc>
              </a:pPr>
              <a:r>
                <a:rPr lang="ko-KR" altLang="en-US" sz="1408" spc="7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Source Han Sans KR Bold"/>
                  <a:sym typeface="Source Han Sans KR Bold"/>
                </a:rPr>
                <a:t>김 동 명</a:t>
              </a:r>
              <a:endParaRPr lang="en-US" sz="1408" spc="7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Bold"/>
                <a:sym typeface="Source Han Sans KR Bold"/>
              </a:endParaRPr>
            </a:p>
          </p:txBody>
        </p:sp>
        <p:sp>
          <p:nvSpPr>
            <p:cNvPr id="8" name="TextBox 19">
              <a:extLst>
                <a:ext uri="{FF2B5EF4-FFF2-40B4-BE49-F238E27FC236}">
                  <a16:creationId xmlns:a16="http://schemas.microsoft.com/office/drawing/2014/main" id="{B4BBD1B1-0EAA-7A74-536F-40E6A11F64C7}"/>
                </a:ext>
              </a:extLst>
            </p:cNvPr>
            <p:cNvSpPr txBox="1"/>
            <p:nvPr/>
          </p:nvSpPr>
          <p:spPr>
            <a:xfrm>
              <a:off x="2052768" y="4446693"/>
              <a:ext cx="1316102" cy="17504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365"/>
                </a:lnSpc>
              </a:pPr>
              <a:r>
                <a:rPr lang="ko-KR" altLang="en-US" sz="1138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Open Sauce"/>
                  <a:sym typeface="Open Sauce"/>
                </a:rPr>
                <a:t>책임</a:t>
              </a:r>
              <a:endParaRPr lang="en-US" sz="1138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Open Sauce"/>
                <a:sym typeface="Open Sauce"/>
              </a:endParaRPr>
            </a:p>
          </p:txBody>
        </p:sp>
        <p:sp>
          <p:nvSpPr>
            <p:cNvPr id="9" name="AutoShape 20">
              <a:extLst>
                <a:ext uri="{FF2B5EF4-FFF2-40B4-BE49-F238E27FC236}">
                  <a16:creationId xmlns:a16="http://schemas.microsoft.com/office/drawing/2014/main" id="{00D1FA20-C251-6B9C-6D62-11361067256B}"/>
                </a:ext>
              </a:extLst>
            </p:cNvPr>
            <p:cNvSpPr/>
            <p:nvPr/>
          </p:nvSpPr>
          <p:spPr>
            <a:xfrm>
              <a:off x="2261154" y="4317612"/>
              <a:ext cx="899335" cy="0"/>
            </a:xfrm>
            <a:prstGeom prst="line">
              <a:avLst/>
            </a:prstGeom>
            <a:ln w="19050" cap="flat">
              <a:solidFill>
                <a:srgbClr val="4E4F50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ko-KR" altLang="en-US">
                <a:latin typeface="나눔스퀘어 네오 Regular" panose="00000500000000000000" pitchFamily="2" charset="-127"/>
                <a:ea typeface="나눔스퀘어 네오 Regular" panose="00000500000000000000" pitchFamily="2" charset="-127"/>
              </a:endParaRPr>
            </a:p>
          </p:txBody>
        </p:sp>
        <p:sp>
          <p:nvSpPr>
            <p:cNvPr id="10" name="TextBox 21">
              <a:extLst>
                <a:ext uri="{FF2B5EF4-FFF2-40B4-BE49-F238E27FC236}">
                  <a16:creationId xmlns:a16="http://schemas.microsoft.com/office/drawing/2014/main" id="{43262D69-6191-0698-68F4-1400D2E25241}"/>
                </a:ext>
              </a:extLst>
            </p:cNvPr>
            <p:cNvSpPr txBox="1"/>
            <p:nvPr/>
          </p:nvSpPr>
          <p:spPr>
            <a:xfrm>
              <a:off x="3550094" y="3983399"/>
              <a:ext cx="1316102" cy="21352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690"/>
                </a:lnSpc>
              </a:pPr>
              <a:r>
                <a:rPr lang="ko-KR" altLang="en-US" sz="1408" spc="7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Source Han Sans KR Bold"/>
                  <a:sym typeface="Source Han Sans KR Bold"/>
                </a:rPr>
                <a:t>김 인 섭</a:t>
              </a:r>
              <a:endParaRPr lang="en-US" sz="1408" spc="7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Bold"/>
                <a:sym typeface="Source Han Sans KR Bold"/>
              </a:endParaRPr>
            </a:p>
          </p:txBody>
        </p:sp>
        <p:sp>
          <p:nvSpPr>
            <p:cNvPr id="11" name="TextBox 22">
              <a:extLst>
                <a:ext uri="{FF2B5EF4-FFF2-40B4-BE49-F238E27FC236}">
                  <a16:creationId xmlns:a16="http://schemas.microsoft.com/office/drawing/2014/main" id="{9484C7A3-521C-9A72-8FC2-3D83018455D0}"/>
                </a:ext>
              </a:extLst>
            </p:cNvPr>
            <p:cNvSpPr txBox="1"/>
            <p:nvPr/>
          </p:nvSpPr>
          <p:spPr>
            <a:xfrm>
              <a:off x="3550094" y="4446693"/>
              <a:ext cx="1316102" cy="17504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365"/>
                </a:lnSpc>
              </a:pPr>
              <a:r>
                <a:rPr lang="ko-KR" altLang="en-US" sz="1138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Open Sauce"/>
                  <a:sym typeface="Open Sauce"/>
                </a:rPr>
                <a:t>책임</a:t>
              </a:r>
              <a:endParaRPr lang="en-US" sz="1138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Open Sauce"/>
                <a:sym typeface="Open Sauce"/>
              </a:endParaRPr>
            </a:p>
          </p:txBody>
        </p:sp>
        <p:sp>
          <p:nvSpPr>
            <p:cNvPr id="12" name="AutoShape 23">
              <a:extLst>
                <a:ext uri="{FF2B5EF4-FFF2-40B4-BE49-F238E27FC236}">
                  <a16:creationId xmlns:a16="http://schemas.microsoft.com/office/drawing/2014/main" id="{84007B7F-D63D-5745-44F3-D8CA82293039}"/>
                </a:ext>
              </a:extLst>
            </p:cNvPr>
            <p:cNvSpPr/>
            <p:nvPr/>
          </p:nvSpPr>
          <p:spPr>
            <a:xfrm>
              <a:off x="3758480" y="4317612"/>
              <a:ext cx="899335" cy="0"/>
            </a:xfrm>
            <a:prstGeom prst="line">
              <a:avLst/>
            </a:prstGeom>
            <a:ln w="19050" cap="flat">
              <a:solidFill>
                <a:srgbClr val="4E4F50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ko-KR" altLang="en-US">
                <a:latin typeface="나눔스퀘어 네오 Regular" panose="00000500000000000000" pitchFamily="2" charset="-127"/>
                <a:ea typeface="나눔스퀘어 네오 Regular" panose="00000500000000000000" pitchFamily="2" charset="-127"/>
              </a:endParaRPr>
            </a:p>
          </p:txBody>
        </p:sp>
        <p:grpSp>
          <p:nvGrpSpPr>
            <p:cNvPr id="13" name="Group 4">
              <a:extLst>
                <a:ext uri="{FF2B5EF4-FFF2-40B4-BE49-F238E27FC236}">
                  <a16:creationId xmlns:a16="http://schemas.microsoft.com/office/drawing/2014/main" id="{20AF30C5-A85A-73C8-D540-5A26A0C9B22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94667" y="2771514"/>
              <a:ext cx="1021608" cy="1021603"/>
              <a:chOff x="0" y="0"/>
              <a:chExt cx="6350000" cy="6349975"/>
            </a:xfrm>
            <a:solidFill>
              <a:srgbClr val="F4F4F4"/>
            </a:solidFill>
          </p:grpSpPr>
          <p:sp>
            <p:nvSpPr>
              <p:cNvPr id="14" name="Freeform 5">
                <a:extLst>
                  <a:ext uri="{FF2B5EF4-FFF2-40B4-BE49-F238E27FC236}">
                    <a16:creationId xmlns:a16="http://schemas.microsoft.com/office/drawing/2014/main" id="{E3C27B37-EFB5-5CF8-D9DD-25918DC3516A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6349974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6349974">
                    <a:moveTo>
                      <a:pt x="6350000" y="3175025"/>
                    </a:moveTo>
                    <a:cubicBezTo>
                      <a:pt x="6350000" y="4928451"/>
                      <a:pt x="4928476" y="6349974"/>
                      <a:pt x="3175000" y="6349974"/>
                    </a:cubicBezTo>
                    <a:cubicBezTo>
                      <a:pt x="1421498" y="6349974"/>
                      <a:pt x="0" y="4928451"/>
                      <a:pt x="0" y="3175025"/>
                    </a:cubicBezTo>
                    <a:cubicBezTo>
                      <a:pt x="0" y="1421511"/>
                      <a:pt x="1421498" y="0"/>
                      <a:pt x="3175000" y="0"/>
                    </a:cubicBezTo>
                    <a:cubicBezTo>
                      <a:pt x="4928501" y="0"/>
                      <a:pt x="6350000" y="1421511"/>
                      <a:pt x="6350000" y="3175025"/>
                    </a:cubicBezTo>
                    <a:close/>
                  </a:path>
                </a:pathLst>
              </a:custGeom>
              <a:grpFill/>
            </p:spPr>
            <p:txBody>
              <a:bodyPr/>
              <a:lstStyle/>
              <a:p>
                <a:endParaRPr lang="ko-KR" altLang="en-US"/>
              </a:p>
            </p:txBody>
          </p:sp>
        </p:grpSp>
        <p:sp>
          <p:nvSpPr>
            <p:cNvPr id="15" name="TextBox 24">
              <a:extLst>
                <a:ext uri="{FF2B5EF4-FFF2-40B4-BE49-F238E27FC236}">
                  <a16:creationId xmlns:a16="http://schemas.microsoft.com/office/drawing/2014/main" id="{D2A74FF6-9618-1937-27F7-9CE048B60C50}"/>
                </a:ext>
              </a:extLst>
            </p:cNvPr>
            <p:cNvSpPr txBox="1"/>
            <p:nvPr/>
          </p:nvSpPr>
          <p:spPr>
            <a:xfrm>
              <a:off x="5047420" y="3983399"/>
              <a:ext cx="1316102" cy="21352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690"/>
                </a:lnSpc>
              </a:pPr>
              <a:r>
                <a:rPr lang="ko-KR" altLang="en-US" sz="1408" spc="7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Source Han Sans KR Bold"/>
                  <a:sym typeface="Source Han Sans KR Bold"/>
                </a:rPr>
                <a:t>문 인 주</a:t>
              </a:r>
              <a:endParaRPr lang="en-US" sz="1408" spc="7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Bold"/>
                <a:sym typeface="Source Han Sans KR Bold"/>
              </a:endParaRPr>
            </a:p>
          </p:txBody>
        </p:sp>
        <p:sp>
          <p:nvSpPr>
            <p:cNvPr id="16" name="TextBox 25">
              <a:extLst>
                <a:ext uri="{FF2B5EF4-FFF2-40B4-BE49-F238E27FC236}">
                  <a16:creationId xmlns:a16="http://schemas.microsoft.com/office/drawing/2014/main" id="{3665884D-FB35-3F1A-2C03-E397A1D618AE}"/>
                </a:ext>
              </a:extLst>
            </p:cNvPr>
            <p:cNvSpPr txBox="1"/>
            <p:nvPr/>
          </p:nvSpPr>
          <p:spPr>
            <a:xfrm>
              <a:off x="5047420" y="4446693"/>
              <a:ext cx="1316102" cy="17504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365"/>
                </a:lnSpc>
              </a:pPr>
              <a:r>
                <a:rPr lang="ko-KR" altLang="en-US" sz="1138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Open Sauce"/>
                  <a:sym typeface="Open Sauce"/>
                </a:rPr>
                <a:t>선임</a:t>
              </a:r>
              <a:endParaRPr lang="en-US" sz="1138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Open Sauce"/>
                <a:sym typeface="Open Sauce"/>
              </a:endParaRPr>
            </a:p>
          </p:txBody>
        </p:sp>
        <p:sp>
          <p:nvSpPr>
            <p:cNvPr id="17" name="AutoShape 26">
              <a:extLst>
                <a:ext uri="{FF2B5EF4-FFF2-40B4-BE49-F238E27FC236}">
                  <a16:creationId xmlns:a16="http://schemas.microsoft.com/office/drawing/2014/main" id="{86DF6648-A0D6-9977-5030-E1DBD8C1ADA2}"/>
                </a:ext>
              </a:extLst>
            </p:cNvPr>
            <p:cNvSpPr/>
            <p:nvPr/>
          </p:nvSpPr>
          <p:spPr>
            <a:xfrm>
              <a:off x="5255806" y="4317612"/>
              <a:ext cx="899335" cy="0"/>
            </a:xfrm>
            <a:prstGeom prst="line">
              <a:avLst/>
            </a:prstGeom>
            <a:ln w="19050" cap="flat">
              <a:solidFill>
                <a:srgbClr val="4E4F50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ko-KR" altLang="en-US">
                <a:latin typeface="나눔스퀘어 네오 Regular" panose="00000500000000000000" pitchFamily="2" charset="-127"/>
                <a:ea typeface="나눔스퀘어 네오 Regular" panose="00000500000000000000" pitchFamily="2" charset="-127"/>
              </a:endParaRPr>
            </a:p>
          </p:txBody>
        </p:sp>
        <p:grpSp>
          <p:nvGrpSpPr>
            <p:cNvPr id="18" name="Group 6">
              <a:extLst>
                <a:ext uri="{FF2B5EF4-FFF2-40B4-BE49-F238E27FC236}">
                  <a16:creationId xmlns:a16="http://schemas.microsoft.com/office/drawing/2014/main" id="{348C8770-E964-3818-353E-B6EEF349131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89320" y="2771514"/>
              <a:ext cx="1021608" cy="1021603"/>
              <a:chOff x="0" y="0"/>
              <a:chExt cx="6350000" cy="6349975"/>
            </a:xfrm>
            <a:solidFill>
              <a:srgbClr val="F4F4F4"/>
            </a:solidFill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3F2C5816-95FC-5280-C0EC-E53A90496307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6349974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6349974">
                    <a:moveTo>
                      <a:pt x="6350000" y="3175025"/>
                    </a:moveTo>
                    <a:cubicBezTo>
                      <a:pt x="6350000" y="4928451"/>
                      <a:pt x="4928476" y="6349974"/>
                      <a:pt x="3175000" y="6349974"/>
                    </a:cubicBezTo>
                    <a:cubicBezTo>
                      <a:pt x="1421498" y="6349974"/>
                      <a:pt x="0" y="4928451"/>
                      <a:pt x="0" y="3175025"/>
                    </a:cubicBezTo>
                    <a:cubicBezTo>
                      <a:pt x="0" y="1421511"/>
                      <a:pt x="1421498" y="0"/>
                      <a:pt x="3175000" y="0"/>
                    </a:cubicBezTo>
                    <a:cubicBezTo>
                      <a:pt x="4928501" y="0"/>
                      <a:pt x="6350000" y="1421511"/>
                      <a:pt x="6350000" y="3175025"/>
                    </a:cubicBezTo>
                    <a:close/>
                  </a:path>
                </a:pathLst>
              </a:custGeom>
              <a:grpFill/>
            </p:spPr>
            <p:txBody>
              <a:bodyPr/>
              <a:lstStyle/>
              <a:p>
                <a:endParaRPr lang="ko-KR" altLang="en-US"/>
              </a:p>
            </p:txBody>
          </p:sp>
        </p:grpSp>
        <p:sp>
          <p:nvSpPr>
            <p:cNvPr id="20" name="TextBox 27">
              <a:extLst>
                <a:ext uri="{FF2B5EF4-FFF2-40B4-BE49-F238E27FC236}">
                  <a16:creationId xmlns:a16="http://schemas.microsoft.com/office/drawing/2014/main" id="{5CDC8559-C0D8-A062-96E4-32FAFCD11570}"/>
                </a:ext>
              </a:extLst>
            </p:cNvPr>
            <p:cNvSpPr txBox="1"/>
            <p:nvPr/>
          </p:nvSpPr>
          <p:spPr>
            <a:xfrm>
              <a:off x="8042073" y="3983399"/>
              <a:ext cx="1316102" cy="21352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690"/>
                </a:lnSpc>
              </a:pPr>
              <a:r>
                <a:rPr lang="ko-KR" altLang="en-US" sz="1408" spc="7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Source Han Sans KR Bold"/>
                  <a:sym typeface="Source Han Sans KR Bold"/>
                </a:rPr>
                <a:t>맹 시 현</a:t>
              </a:r>
              <a:endParaRPr lang="en-US" sz="1408" spc="7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Bold"/>
                <a:sym typeface="Source Han Sans KR Bold"/>
              </a:endParaRPr>
            </a:p>
          </p:txBody>
        </p:sp>
        <p:sp>
          <p:nvSpPr>
            <p:cNvPr id="53" name="TextBox 28">
              <a:extLst>
                <a:ext uri="{FF2B5EF4-FFF2-40B4-BE49-F238E27FC236}">
                  <a16:creationId xmlns:a16="http://schemas.microsoft.com/office/drawing/2014/main" id="{BA2487B2-B907-73EB-6C65-C44A9B8D789C}"/>
                </a:ext>
              </a:extLst>
            </p:cNvPr>
            <p:cNvSpPr txBox="1"/>
            <p:nvPr/>
          </p:nvSpPr>
          <p:spPr>
            <a:xfrm>
              <a:off x="8042073" y="4446693"/>
              <a:ext cx="1316102" cy="17504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365"/>
                </a:lnSpc>
              </a:pPr>
              <a:r>
                <a:rPr lang="ko-KR" altLang="en-US" sz="1138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Open Sauce"/>
                  <a:sym typeface="Open Sauce"/>
                </a:rPr>
                <a:t>사원</a:t>
              </a:r>
              <a:endParaRPr lang="en-US" sz="1138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Open Sauce"/>
                <a:sym typeface="Open Sauce"/>
              </a:endParaRPr>
            </a:p>
          </p:txBody>
        </p:sp>
        <p:sp>
          <p:nvSpPr>
            <p:cNvPr id="54" name="AutoShape 29">
              <a:extLst>
                <a:ext uri="{FF2B5EF4-FFF2-40B4-BE49-F238E27FC236}">
                  <a16:creationId xmlns:a16="http://schemas.microsoft.com/office/drawing/2014/main" id="{B941E1AB-B761-E63F-3CF3-D43D3892AA08}"/>
                </a:ext>
              </a:extLst>
            </p:cNvPr>
            <p:cNvSpPr/>
            <p:nvPr/>
          </p:nvSpPr>
          <p:spPr>
            <a:xfrm>
              <a:off x="8250459" y="4317612"/>
              <a:ext cx="899335" cy="0"/>
            </a:xfrm>
            <a:prstGeom prst="line">
              <a:avLst/>
            </a:prstGeom>
            <a:ln w="19050" cap="flat">
              <a:solidFill>
                <a:srgbClr val="4E4F50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ko-KR" altLang="en-US">
                <a:latin typeface="나눔스퀘어 네오 Regular" panose="00000500000000000000" pitchFamily="2" charset="-127"/>
                <a:ea typeface="나눔스퀘어 네오 Regular" panose="00000500000000000000" pitchFamily="2" charset="-127"/>
              </a:endParaRPr>
            </a:p>
          </p:txBody>
        </p:sp>
        <p:sp>
          <p:nvSpPr>
            <p:cNvPr id="57" name="TextBox 27">
              <a:extLst>
                <a:ext uri="{FF2B5EF4-FFF2-40B4-BE49-F238E27FC236}">
                  <a16:creationId xmlns:a16="http://schemas.microsoft.com/office/drawing/2014/main" id="{8C46F23D-5911-70F0-CAD7-BA2775FA72A4}"/>
                </a:ext>
              </a:extLst>
            </p:cNvPr>
            <p:cNvSpPr txBox="1"/>
            <p:nvPr/>
          </p:nvSpPr>
          <p:spPr>
            <a:xfrm>
              <a:off x="6544746" y="3983399"/>
              <a:ext cx="1316102" cy="21352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690"/>
                </a:lnSpc>
              </a:pPr>
              <a:r>
                <a:rPr lang="ko-KR" altLang="en-US" sz="1408" spc="70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Source Han Sans KR Bold"/>
                  <a:sym typeface="Source Han Sans KR Bold"/>
                </a:rPr>
                <a:t>박 성 안</a:t>
              </a:r>
              <a:endParaRPr lang="en-US" sz="1408" spc="70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Source Han Sans KR Bold"/>
                <a:sym typeface="Source Han Sans KR Bold"/>
              </a:endParaRPr>
            </a:p>
          </p:txBody>
        </p:sp>
        <p:sp>
          <p:nvSpPr>
            <p:cNvPr id="58" name="TextBox 28">
              <a:extLst>
                <a:ext uri="{FF2B5EF4-FFF2-40B4-BE49-F238E27FC236}">
                  <a16:creationId xmlns:a16="http://schemas.microsoft.com/office/drawing/2014/main" id="{AE8F5636-2C0E-ED29-7635-E61E5F23D022}"/>
                </a:ext>
              </a:extLst>
            </p:cNvPr>
            <p:cNvSpPr txBox="1"/>
            <p:nvPr/>
          </p:nvSpPr>
          <p:spPr>
            <a:xfrm>
              <a:off x="6544746" y="4446693"/>
              <a:ext cx="1316102" cy="17504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365"/>
                </a:lnSpc>
              </a:pPr>
              <a:r>
                <a:rPr lang="ko-KR" altLang="en-US" sz="1138" dirty="0">
                  <a:latin typeface="나눔스퀘어 네오 Regular" panose="00000500000000000000" pitchFamily="2" charset="-127"/>
                  <a:ea typeface="나눔스퀘어 네오 Regular" panose="00000500000000000000" pitchFamily="2" charset="-127"/>
                  <a:cs typeface="Open Sauce"/>
                  <a:sym typeface="Open Sauce"/>
                </a:rPr>
                <a:t>선임</a:t>
              </a:r>
              <a:endParaRPr lang="en-US" sz="1138" dirty="0">
                <a:latin typeface="나눔스퀘어 네오 Regular" panose="00000500000000000000" pitchFamily="2" charset="-127"/>
                <a:ea typeface="나눔스퀘어 네오 Regular" panose="00000500000000000000" pitchFamily="2" charset="-127"/>
                <a:cs typeface="Open Sauce"/>
                <a:sym typeface="Open Sauce"/>
              </a:endParaRPr>
            </a:p>
          </p:txBody>
        </p:sp>
        <p:sp>
          <p:nvSpPr>
            <p:cNvPr id="59" name="AutoShape 29">
              <a:extLst>
                <a:ext uri="{FF2B5EF4-FFF2-40B4-BE49-F238E27FC236}">
                  <a16:creationId xmlns:a16="http://schemas.microsoft.com/office/drawing/2014/main" id="{60F4E741-8C15-1793-B9DA-3B00556B919D}"/>
                </a:ext>
              </a:extLst>
            </p:cNvPr>
            <p:cNvSpPr/>
            <p:nvPr/>
          </p:nvSpPr>
          <p:spPr>
            <a:xfrm>
              <a:off x="6753132" y="4317612"/>
              <a:ext cx="899335" cy="0"/>
            </a:xfrm>
            <a:prstGeom prst="line">
              <a:avLst/>
            </a:prstGeom>
            <a:ln w="19050" cap="flat">
              <a:solidFill>
                <a:srgbClr val="4E4F50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ko-KR" altLang="en-US">
                <a:latin typeface="나눔스퀘어 네오 Regular" panose="00000500000000000000" pitchFamily="2" charset="-127"/>
                <a:ea typeface="나눔스퀘어 네오 Regular" panose="00000500000000000000" pitchFamily="2" charset="-127"/>
              </a:endParaRPr>
            </a:p>
          </p:txBody>
        </p:sp>
        <p:pic>
          <p:nvPicPr>
            <p:cNvPr id="60" name="그림 59" descr="사람, 인간의 얼굴, 턱, 의류이(가) 표시된 사진&#10;&#10;자동 생성된 설명">
              <a:extLst>
                <a:ext uri="{FF2B5EF4-FFF2-40B4-BE49-F238E27FC236}">
                  <a16:creationId xmlns:a16="http://schemas.microsoft.com/office/drawing/2014/main" id="{0EE8EB14-D872-2275-650A-40DE4800DC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315" t="5148" r="2248" b="19408"/>
            <a:stretch/>
          </p:blipFill>
          <p:spPr>
            <a:xfrm>
              <a:off x="3697341" y="2770715"/>
              <a:ext cx="1022400" cy="1022400"/>
            </a:xfrm>
            <a:prstGeom prst="flowChartConnector">
              <a:avLst/>
            </a:prstGeom>
            <a:ln>
              <a:solidFill>
                <a:srgbClr val="F4F4F4"/>
              </a:solidFill>
            </a:ln>
          </p:spPr>
        </p:pic>
        <p:pic>
          <p:nvPicPr>
            <p:cNvPr id="61" name="내용 개체 틀 4" descr="인간의 얼굴, 사람, 의류, 입술이(가) 표시된 사진&#10;&#10;자동 생성된 설명">
              <a:extLst>
                <a:ext uri="{FF2B5EF4-FFF2-40B4-BE49-F238E27FC236}">
                  <a16:creationId xmlns:a16="http://schemas.microsoft.com/office/drawing/2014/main" id="{AE41178B-A9D6-D59C-B59E-A3D7188CEC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8573" b="16429"/>
            <a:stretch/>
          </p:blipFill>
          <p:spPr>
            <a:xfrm>
              <a:off x="702689" y="2770744"/>
              <a:ext cx="1022400" cy="1022373"/>
            </a:xfrm>
            <a:prstGeom prst="flowChartConnector">
              <a:avLst/>
            </a:prstGeom>
            <a:ln>
              <a:solidFill>
                <a:srgbClr val="F4F4F4"/>
              </a:solidFill>
            </a:ln>
          </p:spPr>
        </p:pic>
        <p:pic>
          <p:nvPicPr>
            <p:cNvPr id="62" name="그림 61" descr="인간의 얼굴, 사람, 눈썹, 목이(가) 표시된 사진&#10;&#10;자동 생성된 설명">
              <a:extLst>
                <a:ext uri="{FF2B5EF4-FFF2-40B4-BE49-F238E27FC236}">
                  <a16:creationId xmlns:a16="http://schemas.microsoft.com/office/drawing/2014/main" id="{A3A99F5B-7F78-687F-E4C2-EAF3783137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10185"/>
            <a:stretch/>
          </p:blipFill>
          <p:spPr>
            <a:xfrm>
              <a:off x="2200015" y="2770715"/>
              <a:ext cx="1022400" cy="1022400"/>
            </a:xfrm>
            <a:prstGeom prst="flowChartConnector">
              <a:avLst/>
            </a:prstGeom>
            <a:ln>
              <a:solidFill>
                <a:srgbClr val="F4F4F4"/>
              </a:solidFill>
            </a:ln>
          </p:spPr>
        </p:pic>
        <p:pic>
          <p:nvPicPr>
            <p:cNvPr id="66" name="그림 65" descr="사람, 목, 인간의 얼굴, 턱이(가) 표시된 사진&#10;&#10;자동 생성된 설명">
              <a:extLst>
                <a:ext uri="{FF2B5EF4-FFF2-40B4-BE49-F238E27FC236}">
                  <a16:creationId xmlns:a16="http://schemas.microsoft.com/office/drawing/2014/main" id="{86F8783A-F80A-3599-D600-06BC53BE52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12489" b="12246"/>
            <a:stretch/>
          </p:blipFill>
          <p:spPr>
            <a:xfrm>
              <a:off x="6691201" y="2770717"/>
              <a:ext cx="1022400" cy="1022400"/>
            </a:xfrm>
            <a:prstGeom prst="flowChartConnector">
              <a:avLst/>
            </a:prstGeom>
            <a:ln>
              <a:solidFill>
                <a:srgbClr val="F4F4F4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7109330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 테마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테마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65f6206-ddeb-4e1e-adef-95aa61038c36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250CA9EF2F0CD7419B7DD6A0E4B1B5AC" ma:contentTypeVersion="10" ma:contentTypeDescription="새 문서를 만듭니다." ma:contentTypeScope="" ma:versionID="affacbc8511681b0814e30e682d8a671">
  <xsd:schema xmlns:xsd="http://www.w3.org/2001/XMLSchema" xmlns:xs="http://www.w3.org/2001/XMLSchema" xmlns:p="http://schemas.microsoft.com/office/2006/metadata/properties" xmlns:ns2="f65f6206-ddeb-4e1e-adef-95aa61038c36" targetNamespace="http://schemas.microsoft.com/office/2006/metadata/properties" ma:root="true" ma:fieldsID="cae6c2f32307dfb92d13ee178cfcba3b" ns2:_="">
    <xsd:import namespace="f65f6206-ddeb-4e1e-adef-95aa61038c3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5f6206-ddeb-4e1e-adef-95aa61038c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이미지 태그" ma:readOnly="false" ma:fieldId="{5cf76f15-5ced-4ddc-b409-7134ff3c332f}" ma:taxonomyMulti="true" ma:sspId="3ee187ab-9714-4927-8d0f-a9a7d27caa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8739D1C-F324-4106-9DE6-289E613DEB7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58EEDD1-0849-46F5-9202-2807C92F703A}">
  <ds:schemaRefs>
    <ds:schemaRef ds:uri="http://schemas.microsoft.com/office/2006/metadata/properties"/>
    <ds:schemaRef ds:uri="http://schemas.microsoft.com/office/infopath/2007/PartnerControls"/>
    <ds:schemaRef ds:uri="f65f6206-ddeb-4e1e-adef-95aa61038c36"/>
  </ds:schemaRefs>
</ds:datastoreItem>
</file>

<file path=customXml/itemProps3.xml><?xml version="1.0" encoding="utf-8"?>
<ds:datastoreItem xmlns:ds="http://schemas.openxmlformats.org/officeDocument/2006/customXml" ds:itemID="{C273F698-E11F-4105-8E55-4FB2E8CAD6B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65f6206-ddeb-4e1e-adef-95aa61038c3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39</TotalTime>
  <Words>680</Words>
  <Application>Microsoft Office PowerPoint</Application>
  <PresentationFormat>A4 용지(210x297mm)</PresentationFormat>
  <Paragraphs>156</Paragraphs>
  <Slides>11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12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1</vt:i4>
      </vt:variant>
    </vt:vector>
  </HeadingPairs>
  <TitlesOfParts>
    <vt:vector size="25" baseType="lpstr">
      <vt:lpstr>굴림</vt:lpstr>
      <vt:lpstr>나눔스퀘어 네오 Bold</vt:lpstr>
      <vt:lpstr>나눔스퀘어 네오 ExtraBold</vt:lpstr>
      <vt:lpstr>나눔스퀘어 네오 Regular</vt:lpstr>
      <vt:lpstr>맑은 고딕</vt:lpstr>
      <vt:lpstr>Aptos</vt:lpstr>
      <vt:lpstr>Aptos Display</vt:lpstr>
      <vt:lpstr>Arial</vt:lpstr>
      <vt:lpstr>Outfit</vt:lpstr>
      <vt:lpstr>Outfit Light</vt:lpstr>
      <vt:lpstr>Outfit SemiBold</vt:lpstr>
      <vt:lpstr>Wingdings</vt:lpstr>
      <vt:lpstr>Office 테마</vt:lpstr>
      <vt:lpstr>think-cell Slide</vt:lpstr>
      <vt:lpstr>PowerPoint 프레젠테이션</vt:lpstr>
      <vt:lpstr>OVERVIEW</vt:lpstr>
      <vt:lpstr>BUSINESS PART</vt:lpstr>
      <vt:lpstr>HISTORY</vt:lpstr>
      <vt:lpstr>ORGANIZATION</vt:lpstr>
      <vt:lpstr>MENDIX</vt:lpstr>
      <vt:lpstr>MENDIX</vt:lpstr>
      <vt:lpstr>SERVICE</vt:lpstr>
      <vt:lpstr>MENDIX TEAM</vt:lpstr>
      <vt:lpstr>PowerPoint 프레젠테이션</vt:lpstr>
      <vt:lpstr>구축사례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박민지 책임</dc:creator>
  <cp:lastModifiedBy>박민지 책임</cp:lastModifiedBy>
  <cp:revision>5</cp:revision>
  <dcterms:created xsi:type="dcterms:W3CDTF">2024-07-13T09:33:33Z</dcterms:created>
  <dcterms:modified xsi:type="dcterms:W3CDTF">2024-07-15T02:09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mplianceAssetId">
    <vt:lpwstr/>
  </property>
  <property fmtid="{D5CDD505-2E9C-101B-9397-08002B2CF9AE}" pid="3" name="TriggerFlowInfo">
    <vt:lpwstr/>
  </property>
  <property fmtid="{D5CDD505-2E9C-101B-9397-08002B2CF9AE}" pid="4" name="TemplateUrl">
    <vt:lpwstr/>
  </property>
  <property fmtid="{D5CDD505-2E9C-101B-9397-08002B2CF9AE}" pid="5" name="Created">
    <vt:filetime>2015-08-11T00:00:00Z</vt:filetime>
  </property>
  <property fmtid="{D5CDD505-2E9C-101B-9397-08002B2CF9AE}" pid="6" name="_ExtendedDescription">
    <vt:lpwstr/>
  </property>
  <property fmtid="{D5CDD505-2E9C-101B-9397-08002B2CF9AE}" pid="7" name="MediaServiceImageTags">
    <vt:lpwstr/>
  </property>
  <property fmtid="{D5CDD505-2E9C-101B-9397-08002B2CF9AE}" pid="8" name="xd_Signature">
    <vt:bool>false</vt:bool>
  </property>
  <property fmtid="{D5CDD505-2E9C-101B-9397-08002B2CF9AE}" pid="9" name="xd_ProgID">
    <vt:lpwstr/>
  </property>
  <property fmtid="{D5CDD505-2E9C-101B-9397-08002B2CF9AE}" pid="10" name="LastSaved">
    <vt:filetime>2015-08-11T00:00:00Z</vt:filetime>
  </property>
  <property fmtid="{D5CDD505-2E9C-101B-9397-08002B2CF9AE}" pid="11" name="ContentTypeId">
    <vt:lpwstr>0x010100250CA9EF2F0CD7419B7DD6A0E4B1B5AC</vt:lpwstr>
  </property>
  <property fmtid="{D5CDD505-2E9C-101B-9397-08002B2CF9AE}" pid="12" name="Order">
    <vt:r8>6800</vt:r8>
  </property>
</Properties>
</file>